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59"/>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5A97CC5E-13B0-4592-B7B1-0BA19B9CCCA3}">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8" d="100"/>
          <a:sy n="48" d="100"/>
        </p:scale>
        <p:origin x="726" y="36"/>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notesMaster" Target="notesMasters/notesMaster1.xml"/><Relationship Id="rId60" Type="http://schemas.openxmlformats.org/officeDocument/2006/relationships/presProps" Target="presProps.xml"/><Relationship Id="rId61" Type="http://schemas.openxmlformats.org/officeDocument/2006/relationships/viewProps" Target="viewProps.xml"/><Relationship Id="rId62" Type="http://schemas.openxmlformats.org/officeDocument/2006/relationships/theme" Target="theme/theme1.xml"/><Relationship Id="rId63" Type="http://schemas.openxmlformats.org/officeDocument/2006/relationships/tableStyles" Target="tableStyles.xml"/><Relationship Id="rId64" Type="http://schemas.microsoft.com/office/2015/10/relationships/revisionInfo" Target="revisionInfo.xml"/><Relationship Id="rId65"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88488110655021</c:v>
                </c:pt>
                <c:pt idx="3">
                  <c:v>0.004504171129757354</c:v>
                </c:pt>
                <c:pt idx="4">
                  <c:v>0.0008002239117989131</c:v>
                </c:pt>
                <c:pt idx="5">
                  <c:v>0.003204383171782237</c:v>
                </c:pt>
                <c:pt idx="6">
                  <c:v>0.002166808830995274</c:v>
                </c:pt>
                <c:pt idx="7">
                  <c:v>0.006844037767983205</c:v>
                </c:pt>
                <c:pt idx="8">
                  <c:v>0.006728726848673578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2645204450961205</c:v>
                </c:pt>
                <c:pt idx="2">
                  <c:v>0.0008922086978174165</c:v>
                </c:pt>
                <c:pt idx="3">
                  <c:v>0.008890002281996521</c:v>
                </c:pt>
                <c:pt idx="4">
                  <c:v>0.0034852812814458577</c:v>
                </c:pt>
                <c:pt idx="5">
                  <c:v>0.011752993633068051</c:v>
                </c:pt>
                <c:pt idx="6">
                  <c:v>0.014915159471699387</c:v>
                </c:pt>
                <c:pt idx="7">
                  <c:v>0.037470503452530085</c:v>
                </c:pt>
                <c:pt idx="8">
                  <c:v>0.037147680845176674</c:v>
                </c:pt>
                <c:pt idx="9">
                  <c:v>0.023311076778251286</c:v>
                </c:pt>
                <c:pt idx="10">
                  <c:v>0.00700292949415178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06792775661721352</c:v>
                </c:pt>
                <c:pt idx="7">
                  <c:v>0.0009357643287769991</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21135159571873</c:v>
                </c:pt>
                <c:pt idx="1">
                  <c:v>0.0036899242420086594</c:v>
                </c:pt>
                <c:pt idx="2">
                  <c:v>0.008061650265363254</c:v>
                </c:pt>
                <c:pt idx="3">
                  <c:v>0.012221163332728317</c:v>
                </c:pt>
                <c:pt idx="4">
                  <c:v>0.009172075708646577</c:v>
                </c:pt>
                <c:pt idx="5">
                  <c:v>0.02727538387217576</c:v>
                </c:pt>
                <c:pt idx="6">
                  <c:v>0.036457590892748255</c:v>
                </c:pt>
                <c:pt idx="7">
                  <c:v>0.041942519658601025</c:v>
                </c:pt>
                <c:pt idx="8">
                  <c:v>0.04373578704538852</c:v>
                </c:pt>
                <c:pt idx="9">
                  <c:v>0.051824970469332564</c:v>
                </c:pt>
                <c:pt idx="10">
                  <c:v>0.015973154116971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146139338108645</c:v>
                </c:pt>
                <c:pt idx="1">
                  <c:v>0.006041321442146539</c:v>
                </c:pt>
                <c:pt idx="2">
                  <c:v>0.002479713459043754</c:v>
                </c:pt>
                <c:pt idx="3">
                  <c:v>0.00542251771131146</c:v>
                </c:pt>
                <c:pt idx="4">
                  <c:v>0.014647987527382434</c:v>
                </c:pt>
                <c:pt idx="5">
                  <c:v>0.03867168271285739</c:v>
                </c:pt>
                <c:pt idx="6">
                  <c:v>0.034957308697417255</c:v>
                </c:pt>
                <c:pt idx="7">
                  <c:v>0.045440172907016844</c:v>
                </c:pt>
                <c:pt idx="8">
                  <c:v>0.06470167447026794</c:v>
                </c:pt>
                <c:pt idx="9">
                  <c:v>0.041080999057069814</c:v>
                </c:pt>
                <c:pt idx="10">
                  <c:v>0.001675934445244154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2</c:v>
                </c:pt>
                <c:pt idx="2">
                  <c:v>0.025308299426034547</c:v>
                </c:pt>
                <c:pt idx="3">
                  <c:v>0.05376235000431038</c:v>
                </c:pt>
                <c:pt idx="4">
                  <c:v>0.06047976889902426</c:v>
                </c:pt>
                <c:pt idx="5">
                  <c:v>0.11906086687087766</c:v>
                </c:pt>
                <c:pt idx="6">
                  <c:v>0.13389055283916435</c:v>
                </c:pt>
                <c:pt idx="7">
                  <c:v>0.18936383046379757</c:v>
                </c:pt>
                <c:pt idx="8">
                  <c:v>0.2079537278099954</c:v>
                </c:pt>
                <c:pt idx="9">
                  <c:v>0.1370361635363881</c:v>
                </c:pt>
                <c:pt idx="10">
                  <c:v>0.02671768734930402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828116131706631</c:v>
                </c:pt>
                <c:pt idx="2">
                  <c:v>0.0030098900738080516</c:v>
                </c:pt>
                <c:pt idx="3">
                  <c:v>0.0010402111849842667</c:v>
                </c:pt>
                <c:pt idx="4">
                  <c:v>0.004818518734354006</c:v>
                </c:pt>
                <c:pt idx="5">
                  <c:v>0.009944492177066288</c:v>
                </c:pt>
                <c:pt idx="6">
                  <c:v>0.007487798765379195</c:v>
                </c:pt>
                <c:pt idx="7">
                  <c:v>0.0019435688310811372</c:v>
                </c:pt>
                <c:pt idx="8">
                  <c:v>0.003394697070460796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07063617840163</c:v>
                </c:pt>
                <c:pt idx="1">
                  <c:v>0.0028111852108087237</c:v>
                </c:pt>
                <c:pt idx="2">
                  <c:v>0.011733795016715528</c:v>
                </c:pt>
                <c:pt idx="3">
                  <c:v>0.007574852123027206</c:v>
                </c:pt>
                <c:pt idx="4">
                  <c:v>0.019009215663064603</c:v>
                </c:pt>
                <c:pt idx="5">
                  <c:v>0.011686734111054543</c:v>
                </c:pt>
                <c:pt idx="6">
                  <c:v>0.044282416000018386</c:v>
                </c:pt>
                <c:pt idx="7">
                  <c:v>0.13481352044305056</c:v>
                </c:pt>
                <c:pt idx="8">
                  <c:v>0.11237839726299749</c:v>
                </c:pt>
                <c:pt idx="9">
                  <c:v>0.48396240184152367</c:v>
                </c:pt>
                <c:pt idx="10">
                  <c:v>0.165340418709899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07063617840163</c:v>
                </c:pt>
                <c:pt idx="1">
                  <c:v>0.0028111852108087237</c:v>
                </c:pt>
                <c:pt idx="2">
                  <c:v>0.011733795016715528</c:v>
                </c:pt>
                <c:pt idx="3">
                  <c:v>0.007574852123027206</c:v>
                </c:pt>
                <c:pt idx="4">
                  <c:v>0.019009215663064603</c:v>
                </c:pt>
                <c:pt idx="5">
                  <c:v>0.011686734111054543</c:v>
                </c:pt>
                <c:pt idx="6">
                  <c:v>0.044282416000018386</c:v>
                </c:pt>
                <c:pt idx="7">
                  <c:v>0.13481352044305056</c:v>
                </c:pt>
                <c:pt idx="8">
                  <c:v>0.11237839726299749</c:v>
                </c:pt>
                <c:pt idx="9">
                  <c:v>0.48396240184152367</c:v>
                </c:pt>
                <c:pt idx="10">
                  <c:v>0.165340418709899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66596838760698</c:v>
                </c:pt>
                <c:pt idx="1">
                  <c:v>0.0006556122106747299</c:v>
                </c:pt>
                <c:pt idx="2">
                  <c:v>0.0018510121405579355</c:v>
                </c:pt>
                <c:pt idx="3">
                  <c:v>0.1486048265665957</c:v>
                </c:pt>
                <c:pt idx="4">
                  <c:v>0.35492013915559956</c:v>
                </c:pt>
                <c:pt idx="5">
                  <c:v>0.09235001553468092</c:v>
                </c:pt>
                <c:pt idx="6">
                  <c:v>0.024791251760488343</c:v>
                </c:pt>
                <c:pt idx="7">
                  <c:v>0.12812412643390092</c:v>
                </c:pt>
                <c:pt idx="8">
                  <c:v>0.2210268323176925</c:v>
                </c:pt>
                <c:pt idx="9">
                  <c:v>0.00743898586373716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100304976349817</c:v>
                </c:pt>
                <c:pt idx="3">
                  <c:v>0.26868346656608316</c:v>
                </c:pt>
                <c:pt idx="4">
                  <c:v>0.24448648886529212</c:v>
                </c:pt>
                <c:pt idx="5">
                  <c:v>0.09711309197384473</c:v>
                </c:pt>
                <c:pt idx="6">
                  <c:v>0.02982395736803779</c:v>
                </c:pt>
                <c:pt idx="7">
                  <c:v>0.16451004332234603</c:v>
                </c:pt>
                <c:pt idx="8">
                  <c:v>0.1923090863418820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100304976349817</c:v>
                </c:pt>
                <c:pt idx="3">
                  <c:v>0.26868346656608316</c:v>
                </c:pt>
                <c:pt idx="4">
                  <c:v>0.24448648886529212</c:v>
                </c:pt>
                <c:pt idx="5">
                  <c:v>0.09711309197384473</c:v>
                </c:pt>
                <c:pt idx="6">
                  <c:v>0.02982395736803779</c:v>
                </c:pt>
                <c:pt idx="7">
                  <c:v>0.16451004332234603</c:v>
                </c:pt>
                <c:pt idx="8">
                  <c:v>0.1923090863418820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82354452281678</c:v>
                </c:pt>
                <c:pt idx="1">
                  <c:v>0.01063195709550814</c:v>
                </c:pt>
                <c:pt idx="2">
                  <c:v>0.017221234411258925</c:v>
                </c:pt>
                <c:pt idx="3">
                  <c:v>0.06680775222126652</c:v>
                </c:pt>
                <c:pt idx="4">
                  <c:v>0.04925062777639061</c:v>
                </c:pt>
                <c:pt idx="5">
                  <c:v>0.11852846252856482</c:v>
                </c:pt>
                <c:pt idx="6">
                  <c:v>0.13127207598354879</c:v>
                </c:pt>
                <c:pt idx="7">
                  <c:v>0.18044499841671938</c:v>
                </c:pt>
                <c:pt idx="8">
                  <c:v>0.23112965900723814</c:v>
                </c:pt>
                <c:pt idx="9">
                  <c:v>0.10923037007143092</c:v>
                </c:pt>
                <c:pt idx="10">
                  <c:v>0.068900508035792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914325723460334</c:v>
                </c:pt>
                <c:pt idx="1">
                  <c:v>0.002305581989624116</c:v>
                </c:pt>
                <c:pt idx="2">
                  <c:v>0.0063943638096728705</c:v>
                </c:pt>
                <c:pt idx="3">
                  <c:v>0.02734180688508088</c:v>
                </c:pt>
                <c:pt idx="4">
                  <c:v>0.00887556430819835</c:v>
                </c:pt>
                <c:pt idx="5">
                  <c:v>0.01622312541348651</c:v>
                </c:pt>
                <c:pt idx="6">
                  <c:v>0.006141217984662486</c:v>
                </c:pt>
                <c:pt idx="7">
                  <c:v>0.02968498052094548</c:v>
                </c:pt>
                <c:pt idx="8">
                  <c:v>0.020126327933237556</c:v>
                </c:pt>
                <c:pt idx="9">
                  <c:v>0.01191409613132025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305581989624116</c:v>
                </c:pt>
                <c:pt idx="2">
                  <c:v>0.004111146912207988</c:v>
                </c:pt>
                <c:pt idx="5">
                  <c:v>0.00495517344541748</c:v>
                </c:pt>
                <c:pt idx="6">
                  <c:v>0.0037827392533441384</c:v>
                </c:pt>
                <c:pt idx="7">
                  <c:v>0.005894317071447461</c:v>
                </c:pt>
                <c:pt idx="8">
                  <c:v>0.007444870375083208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7327421352016318</c:v>
                </c:pt>
                <c:pt idx="2">
                  <c:v>0.0009762186445758247</c:v>
                </c:pt>
                <c:pt idx="3">
                  <c:v>0.012550534326294788</c:v>
                </c:pt>
                <c:pt idx="4">
                  <c:v>0.004216629720834134</c:v>
                </c:pt>
                <c:pt idx="5">
                  <c:v>0.015716072784834445</c:v>
                </c:pt>
                <c:pt idx="6">
                  <c:v>0.021370599555323534</c:v>
                </c:pt>
                <c:pt idx="7">
                  <c:v>0.02226059722653693</c:v>
                </c:pt>
                <c:pt idx="8">
                  <c:v>0.054572257812236735</c:v>
                </c:pt>
                <c:pt idx="9">
                  <c:v>0.017970548776057242</c:v>
                </c:pt>
                <c:pt idx="10">
                  <c:v>0.01539225368748820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5219440728773318</c:v>
                </c:pt>
                <c:pt idx="8">
                  <c:v>0.0008100966602911609</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834385939280542</c:v>
                </c:pt>
                <c:pt idx="1">
                  <c:v>0.0008361409794108802</c:v>
                </c:pt>
                <c:pt idx="2">
                  <c:v>0.00440872795504902</c:v>
                </c:pt>
                <c:pt idx="3">
                  <c:v>0.019751736201982145</c:v>
                </c:pt>
                <c:pt idx="4">
                  <c:v>0.005156569232772076</c:v>
                </c:pt>
                <c:pt idx="5">
                  <c:v>0.01708061393794184</c:v>
                </c:pt>
                <c:pt idx="6">
                  <c:v>0.025008660364438287</c:v>
                </c:pt>
                <c:pt idx="7">
                  <c:v>0.04484127498108929</c:v>
                </c:pt>
                <c:pt idx="8">
                  <c:v>0.03170082687815901</c:v>
                </c:pt>
                <c:pt idx="9">
                  <c:v>0.028595559323509056</c:v>
                </c:pt>
                <c:pt idx="10">
                  <c:v>0.0341396307438110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930483926575316</c:v>
                </c:pt>
                <c:pt idx="1">
                  <c:v>0.00201627571671651</c:v>
                </c:pt>
                <c:pt idx="2">
                  <c:v>0.0020831947114470523</c:v>
                </c:pt>
                <c:pt idx="3">
                  <c:v>0.0036149679002370557</c:v>
                </c:pt>
                <c:pt idx="4">
                  <c:v>0.018623932708488777</c:v>
                </c:pt>
                <c:pt idx="5">
                  <c:v>0.045053120261713535</c:v>
                </c:pt>
                <c:pt idx="6">
                  <c:v>0.0371859433989016</c:v>
                </c:pt>
                <c:pt idx="7">
                  <c:v>0.04868551387446174</c:v>
                </c:pt>
                <c:pt idx="8">
                  <c:v>0.05827003449954222</c:v>
                </c:pt>
                <c:pt idx="9">
                  <c:v>0.036009730494129276</c:v>
                </c:pt>
                <c:pt idx="10">
                  <c:v>0.01931986512044721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89049210835225</c:v>
                </c:pt>
                <c:pt idx="1">
                  <c:v>0.0015711852495085654</c:v>
                </c:pt>
                <c:pt idx="2">
                  <c:v>0.0028092608299865123</c:v>
                </c:pt>
                <c:pt idx="3">
                  <c:v>0.0021388316743594826</c:v>
                </c:pt>
                <c:pt idx="4">
                  <c:v>0.008995411461172121</c:v>
                </c:pt>
                <c:pt idx="5">
                  <c:v>0.01581956587869069</c:v>
                </c:pt>
                <c:pt idx="6">
                  <c:v>0.03491982583091104</c:v>
                </c:pt>
                <c:pt idx="7">
                  <c:v>0.02750118303815004</c:v>
                </c:pt>
                <c:pt idx="8">
                  <c:v>0.06289412464333949</c:v>
                </c:pt>
                <c:pt idx="9">
                  <c:v>0.01369170730675083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82354452281678</c:v>
                </c:pt>
                <c:pt idx="1">
                  <c:v>0.01063195709550814</c:v>
                </c:pt>
                <c:pt idx="2">
                  <c:v>0.017221234411258925</c:v>
                </c:pt>
                <c:pt idx="3">
                  <c:v>0.06680775222126652</c:v>
                </c:pt>
                <c:pt idx="4">
                  <c:v>0.04925062777639061</c:v>
                </c:pt>
                <c:pt idx="5">
                  <c:v>0.11852846252856482</c:v>
                </c:pt>
                <c:pt idx="6">
                  <c:v>0.13127207598354879</c:v>
                </c:pt>
                <c:pt idx="7">
                  <c:v>0.18044499841671938</c:v>
                </c:pt>
                <c:pt idx="8">
                  <c:v>0.23112965900723814</c:v>
                </c:pt>
                <c:pt idx="9">
                  <c:v>0.10923037007143092</c:v>
                </c:pt>
                <c:pt idx="10">
                  <c:v>0.068900508035792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014030030377552</c:v>
                </c:pt>
                <c:pt idx="1">
                  <c:v>0.003170031025046437</c:v>
                </c:pt>
                <c:pt idx="2">
                  <c:v>0.0005494684605276448</c:v>
                </c:pt>
                <c:pt idx="3">
                  <c:v>0.0014098752333121648</c:v>
                </c:pt>
                <c:pt idx="4">
                  <c:v>0.003382520344925154</c:v>
                </c:pt>
                <c:pt idx="5">
                  <c:v>0.008635964251897799</c:v>
                </c:pt>
                <c:pt idx="6">
                  <c:v>0.006645828849311837</c:v>
                </c:pt>
                <c:pt idx="7">
                  <c:v>0.0074714487755359014</c:v>
                </c:pt>
                <c:pt idx="8">
                  <c:v>0.0035660872407231262</c:v>
                </c:pt>
                <c:pt idx="9">
                  <c:v>0.001048728039664258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89049210835225</c:v>
                </c:pt>
                <c:pt idx="1">
                  <c:v>0.0015711852495085654</c:v>
                </c:pt>
                <c:pt idx="2">
                  <c:v>0.0028092608299865123</c:v>
                </c:pt>
                <c:pt idx="3">
                  <c:v>0.0021388316743594826</c:v>
                </c:pt>
                <c:pt idx="4">
                  <c:v>0.008995411461172121</c:v>
                </c:pt>
                <c:pt idx="5">
                  <c:v>0.01581956587869069</c:v>
                </c:pt>
                <c:pt idx="6">
                  <c:v>0.03491982583091104</c:v>
                </c:pt>
                <c:pt idx="7">
                  <c:v>0.02750118303815004</c:v>
                </c:pt>
                <c:pt idx="8">
                  <c:v>0.06289412464333949</c:v>
                </c:pt>
                <c:pt idx="9">
                  <c:v>0.01369170730675083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89049210835225</c:v>
                </c:pt>
                <c:pt idx="1">
                  <c:v>0.0015711852495085654</c:v>
                </c:pt>
                <c:pt idx="2">
                  <c:v>0.0028092608299865123</c:v>
                </c:pt>
                <c:pt idx="3">
                  <c:v>0.0021388316743594826</c:v>
                </c:pt>
                <c:pt idx="4">
                  <c:v>0.008995411461172121</c:v>
                </c:pt>
                <c:pt idx="5">
                  <c:v>0.01581956587869069</c:v>
                </c:pt>
                <c:pt idx="6">
                  <c:v>0.03491982583091104</c:v>
                </c:pt>
                <c:pt idx="7">
                  <c:v>0.02750118303815004</c:v>
                </c:pt>
                <c:pt idx="8">
                  <c:v>0.06289412464333949</c:v>
                </c:pt>
                <c:pt idx="9">
                  <c:v>0.01369170730675083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89049210835225</c:v>
                </c:pt>
                <c:pt idx="1">
                  <c:v>0.0015711852495085654</c:v>
                </c:pt>
                <c:pt idx="2">
                  <c:v>0.0028092608299865123</c:v>
                </c:pt>
                <c:pt idx="3">
                  <c:v>0.0021388316743594826</c:v>
                </c:pt>
                <c:pt idx="4">
                  <c:v>0.008995411461172121</c:v>
                </c:pt>
                <c:pt idx="5">
                  <c:v>0.01581956587869069</c:v>
                </c:pt>
                <c:pt idx="6">
                  <c:v>0.03491982583091104</c:v>
                </c:pt>
                <c:pt idx="7">
                  <c:v>0.02750118303815004</c:v>
                </c:pt>
                <c:pt idx="8">
                  <c:v>0.06289412464333949</c:v>
                </c:pt>
                <c:pt idx="9">
                  <c:v>0.01369170730675083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8030213217652804</c:v>
                </c:pt>
                <c:pt idx="1">
                  <c:v>0.001136218009126783</c:v>
                </c:pt>
                <c:pt idx="2">
                  <c:v>0.03902508511291027</c:v>
                </c:pt>
                <c:pt idx="3">
                  <c:v>0.010743820448448566</c:v>
                </c:pt>
                <c:pt idx="4">
                  <c:v>0.008513844935433352</c:v>
                </c:pt>
                <c:pt idx="5">
                  <c:v>0.010761112831630315</c:v>
                </c:pt>
                <c:pt idx="6">
                  <c:v>0.07763991842218361</c:v>
                </c:pt>
                <c:pt idx="7">
                  <c:v>0.17609201899160237</c:v>
                </c:pt>
                <c:pt idx="8">
                  <c:v>0.21875489647669405</c:v>
                </c:pt>
                <c:pt idx="9">
                  <c:v>0.2442479212971707</c:v>
                </c:pt>
                <c:pt idx="10">
                  <c:v>0.2072821421530346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66596838760698</c:v>
                </c:pt>
                <c:pt idx="1">
                  <c:v>0.0006556122106747299</c:v>
                </c:pt>
                <c:pt idx="2">
                  <c:v>0.0018510121405579355</c:v>
                </c:pt>
                <c:pt idx="3">
                  <c:v>0.1486048265665957</c:v>
                </c:pt>
                <c:pt idx="4">
                  <c:v>0.35492013915559956</c:v>
                </c:pt>
                <c:pt idx="5">
                  <c:v>0.09235001553468092</c:v>
                </c:pt>
                <c:pt idx="6">
                  <c:v>0.024791251760488343</c:v>
                </c:pt>
                <c:pt idx="7">
                  <c:v>0.12812412643390092</c:v>
                </c:pt>
                <c:pt idx="8">
                  <c:v>0.2210268323176925</c:v>
                </c:pt>
                <c:pt idx="9">
                  <c:v>0.00743898586373716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8030213217652804</c:v>
                </c:pt>
                <c:pt idx="1">
                  <c:v>0.001136218009126783</c:v>
                </c:pt>
                <c:pt idx="2">
                  <c:v>0.03902508511291027</c:v>
                </c:pt>
                <c:pt idx="3">
                  <c:v>0.010743820448448566</c:v>
                </c:pt>
                <c:pt idx="4">
                  <c:v>0.008513844935433352</c:v>
                </c:pt>
                <c:pt idx="5">
                  <c:v>0.010761112831630315</c:v>
                </c:pt>
                <c:pt idx="6">
                  <c:v>0.07763991842218361</c:v>
                </c:pt>
                <c:pt idx="7">
                  <c:v>0.17609201899160237</c:v>
                </c:pt>
                <c:pt idx="8">
                  <c:v>0.21875489647669405</c:v>
                </c:pt>
                <c:pt idx="9">
                  <c:v>0.2442479212971707</c:v>
                </c:pt>
                <c:pt idx="10">
                  <c:v>0.2072821421530346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66596838760698</c:v>
                </c:pt>
                <c:pt idx="1">
                  <c:v>0.0006556122106747299</c:v>
                </c:pt>
                <c:pt idx="2">
                  <c:v>0.0018510121405579355</c:v>
                </c:pt>
                <c:pt idx="3">
                  <c:v>0.1486048265665957</c:v>
                </c:pt>
                <c:pt idx="4">
                  <c:v>0.35492013915559956</c:v>
                </c:pt>
                <c:pt idx="5">
                  <c:v>0.09235001553468092</c:v>
                </c:pt>
                <c:pt idx="6">
                  <c:v>0.024791251760488343</c:v>
                </c:pt>
                <c:pt idx="7">
                  <c:v>0.12812412643390092</c:v>
                </c:pt>
                <c:pt idx="8">
                  <c:v>0.2210268323176925</c:v>
                </c:pt>
                <c:pt idx="9">
                  <c:v>0.00743898586373716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66596838760698</c:v>
                </c:pt>
                <c:pt idx="1">
                  <c:v>0.0006556122106747299</c:v>
                </c:pt>
                <c:pt idx="2">
                  <c:v>0.0018510121405579355</c:v>
                </c:pt>
                <c:pt idx="3">
                  <c:v>0.1486048265665957</c:v>
                </c:pt>
                <c:pt idx="4">
                  <c:v>0.35492013915559956</c:v>
                </c:pt>
                <c:pt idx="5">
                  <c:v>0.09235001553468092</c:v>
                </c:pt>
                <c:pt idx="6">
                  <c:v>0.024791251760488343</c:v>
                </c:pt>
                <c:pt idx="7">
                  <c:v>0.12812412643390092</c:v>
                </c:pt>
                <c:pt idx="8">
                  <c:v>0.2210268323176925</c:v>
                </c:pt>
                <c:pt idx="9">
                  <c:v>0.00743898586373716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16802825232</c:v>
                </c:pt>
                <c:pt idx="1">
                  <c:v>0.016257884832080138</c:v>
                </c:pt>
                <c:pt idx="2">
                  <c:v>0.021276504885351145</c:v>
                </c:pt>
                <c:pt idx="3">
                  <c:v>0.03946846894890925</c:v>
                </c:pt>
                <c:pt idx="4">
                  <c:v>0.051557744079106294</c:v>
                </c:pt>
                <c:pt idx="5">
                  <c:v>0.10236317325345326</c:v>
                </c:pt>
                <c:pt idx="6">
                  <c:v>0.1307466067294137</c:v>
                </c:pt>
                <c:pt idx="7">
                  <c:v>0.17793801242919716</c:v>
                </c:pt>
                <c:pt idx="8">
                  <c:v>0.2564205262308883</c:v>
                </c:pt>
                <c:pt idx="9">
                  <c:v>0.10337145839958196</c:v>
                </c:pt>
                <c:pt idx="10">
                  <c:v>0.0818024521837664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4719060721600725</c:v>
                </c:pt>
                <c:pt idx="1">
                  <c:v>0.0008424507496731342</c:v>
                </c:pt>
                <c:pt idx="2">
                  <c:v>0.004758191255891175</c:v>
                </c:pt>
                <c:pt idx="3">
                  <c:v>0.011334511794249763</c:v>
                </c:pt>
                <c:pt idx="4">
                  <c:v>0.01545023403037118</c:v>
                </c:pt>
                <c:pt idx="5">
                  <c:v>0.017254320157169965</c:v>
                </c:pt>
                <c:pt idx="6">
                  <c:v>0.010161956858912437</c:v>
                </c:pt>
                <c:pt idx="7">
                  <c:v>0.031658217739082894</c:v>
                </c:pt>
                <c:pt idx="8">
                  <c:v>0.02046361829439038</c:v>
                </c:pt>
                <c:pt idx="9">
                  <c:v>0.0062005500124722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0013581703572184</c:v>
                </c:pt>
                <c:pt idx="4">
                  <c:v>0.0016761301889800756</c:v>
                </c:pt>
                <c:pt idx="5">
                  <c:v>0.007515446573777856</c:v>
                </c:pt>
                <c:pt idx="6">
                  <c:v>0.002830410340406952</c:v>
                </c:pt>
                <c:pt idx="7">
                  <c:v>0.007199625091168654</c:v>
                </c:pt>
                <c:pt idx="8">
                  <c:v>0.003005605338306158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224635563361237</c:v>
                </c:pt>
                <c:pt idx="3">
                  <c:v>0.008267621535990682</c:v>
                </c:pt>
                <c:pt idx="4">
                  <c:v>0.0032259301173241284</c:v>
                </c:pt>
                <c:pt idx="5">
                  <c:v>0.008277474302525395</c:v>
                </c:pt>
                <c:pt idx="6">
                  <c:v>0.022484355313998464</c:v>
                </c:pt>
                <c:pt idx="7">
                  <c:v>0.019925659765518522</c:v>
                </c:pt>
                <c:pt idx="8">
                  <c:v>0.04714406500671023</c:v>
                </c:pt>
                <c:pt idx="9">
                  <c:v>0.021616406176021893</c:v>
                </c:pt>
                <c:pt idx="10">
                  <c:v>0.01705801186277462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323569124515268</c:v>
                </c:pt>
                <c:pt idx="1">
                  <c:v>0.0029678834981392197</c:v>
                </c:pt>
                <c:pt idx="2">
                  <c:v>0.003975900928092005</c:v>
                </c:pt>
                <c:pt idx="3">
                  <c:v>0.0108123645196292</c:v>
                </c:pt>
                <c:pt idx="4">
                  <c:v>0.014436809995626737</c:v>
                </c:pt>
                <c:pt idx="5">
                  <c:v>0.016080569963754322</c:v>
                </c:pt>
                <c:pt idx="6">
                  <c:v>0.025162732838079276</c:v>
                </c:pt>
                <c:pt idx="7">
                  <c:v>0.049930890117067195</c:v>
                </c:pt>
                <c:pt idx="8">
                  <c:v>0.043408646218090055</c:v>
                </c:pt>
                <c:pt idx="9">
                  <c:v>0.01215003971626934</c:v>
                </c:pt>
                <c:pt idx="10">
                  <c:v>0.05804241915078134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018096480880986</c:v>
                </c:pt>
                <c:pt idx="1">
                  <c:v>0.004989599214171537</c:v>
                </c:pt>
                <c:pt idx="2">
                  <c:v>0.0029171343815300936</c:v>
                </c:pt>
                <c:pt idx="3">
                  <c:v>0.003526079161476953</c:v>
                </c:pt>
                <c:pt idx="4">
                  <c:v>0.0061212893484787504</c:v>
                </c:pt>
                <c:pt idx="5">
                  <c:v>0.04107188309778545</c:v>
                </c:pt>
                <c:pt idx="6">
                  <c:v>0.03573355517034819</c:v>
                </c:pt>
                <c:pt idx="7">
                  <c:v>0.03963147001583641</c:v>
                </c:pt>
                <c:pt idx="8">
                  <c:v>0.074077316013804</c:v>
                </c:pt>
                <c:pt idx="9">
                  <c:v>0.049493859009062086</c:v>
                </c:pt>
                <c:pt idx="10">
                  <c:v>0.00575544077167424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917989836345125</c:v>
                </c:pt>
                <c:pt idx="1">
                  <c:v>0.003960526628104256</c:v>
                </c:pt>
                <c:pt idx="2">
                  <c:v>0.0075502093389398246</c:v>
                </c:pt>
                <c:pt idx="3">
                  <c:v>0.003951682078885225</c:v>
                </c:pt>
                <c:pt idx="4">
                  <c:v>0.009585068161476971</c:v>
                </c:pt>
                <c:pt idx="5">
                  <c:v>0.011617534665054954</c:v>
                </c:pt>
                <c:pt idx="6">
                  <c:v>0.023865153547189606</c:v>
                </c:pt>
                <c:pt idx="7">
                  <c:v>0.03244569112415983</c:v>
                </c:pt>
                <c:pt idx="8">
                  <c:v>0.06956881042965776</c:v>
                </c:pt>
                <c:pt idx="9">
                  <c:v>0.013055252782569877</c:v>
                </c:pt>
                <c:pt idx="10">
                  <c:v>0.000516156561808732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16802825232</c:v>
                </c:pt>
                <c:pt idx="1">
                  <c:v>0.016257884832080138</c:v>
                </c:pt>
                <c:pt idx="2">
                  <c:v>0.021276504885351145</c:v>
                </c:pt>
                <c:pt idx="3">
                  <c:v>0.03946846894890925</c:v>
                </c:pt>
                <c:pt idx="4">
                  <c:v>0.051557744079106294</c:v>
                </c:pt>
                <c:pt idx="5">
                  <c:v>0.10236317325345326</c:v>
                </c:pt>
                <c:pt idx="6">
                  <c:v>0.1307466067294137</c:v>
                </c:pt>
                <c:pt idx="7">
                  <c:v>0.17793801242919716</c:v>
                </c:pt>
                <c:pt idx="8">
                  <c:v>0.2564205262308883</c:v>
                </c:pt>
                <c:pt idx="9">
                  <c:v>0.10337145839958196</c:v>
                </c:pt>
                <c:pt idx="10">
                  <c:v>0.0818024521837664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340242794427519</c:v>
                </c:pt>
                <c:pt idx="1">
                  <c:v>0.0012727891786307522</c:v>
                </c:pt>
                <c:pt idx="2">
                  <c:v>0.001726004270310525</c:v>
                </c:pt>
                <c:pt idx="3">
                  <c:v>0.0015762098586774285</c:v>
                </c:pt>
                <c:pt idx="4">
                  <c:v>0.0027384124258285265</c:v>
                </c:pt>
                <c:pt idx="5">
                  <c:v>0.008061391067163168</c:v>
                </c:pt>
                <c:pt idx="6">
                  <c:v>0.013338853000885748</c:v>
                </c:pt>
                <c:pt idx="7">
                  <c:v>0.0043460836675323035</c:v>
                </c:pt>
                <c:pt idx="8">
                  <c:v>0.0017580702682358405</c:v>
                </c:pt>
                <c:pt idx="9">
                  <c:v>0.000855350703186541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917989836345125</c:v>
                </c:pt>
                <c:pt idx="1">
                  <c:v>0.003960526628104256</c:v>
                </c:pt>
                <c:pt idx="2">
                  <c:v>0.0075502093389398246</c:v>
                </c:pt>
                <c:pt idx="3">
                  <c:v>0.003951682078885225</c:v>
                </c:pt>
                <c:pt idx="4">
                  <c:v>0.009585068161476971</c:v>
                </c:pt>
                <c:pt idx="5">
                  <c:v>0.011617534665054954</c:v>
                </c:pt>
                <c:pt idx="6">
                  <c:v>0.023865153547189606</c:v>
                </c:pt>
                <c:pt idx="7">
                  <c:v>0.03244569112415983</c:v>
                </c:pt>
                <c:pt idx="8">
                  <c:v>0.06956881042965776</c:v>
                </c:pt>
                <c:pt idx="9">
                  <c:v>0.013055252782569877</c:v>
                </c:pt>
                <c:pt idx="10">
                  <c:v>0.000516156561808732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16802825232</c:v>
                </c:pt>
                <c:pt idx="1">
                  <c:v>0.016257884832080138</c:v>
                </c:pt>
                <c:pt idx="2">
                  <c:v>0.021276504885351145</c:v>
                </c:pt>
                <c:pt idx="3">
                  <c:v>0.03946846894890925</c:v>
                </c:pt>
                <c:pt idx="4">
                  <c:v>0.051557744079106294</c:v>
                </c:pt>
                <c:pt idx="5">
                  <c:v>0.10236317325345326</c:v>
                </c:pt>
                <c:pt idx="6">
                  <c:v>0.1307466067294137</c:v>
                </c:pt>
                <c:pt idx="7">
                  <c:v>0.17793801242919716</c:v>
                </c:pt>
                <c:pt idx="8">
                  <c:v>0.2564205262308883</c:v>
                </c:pt>
                <c:pt idx="9">
                  <c:v>0.10337145839958196</c:v>
                </c:pt>
                <c:pt idx="10">
                  <c:v>0.0818024521837664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917989836345125</c:v>
                </c:pt>
                <c:pt idx="1">
                  <c:v>0.003960526628104256</c:v>
                </c:pt>
                <c:pt idx="2">
                  <c:v>0.0075502093389398246</c:v>
                </c:pt>
                <c:pt idx="3">
                  <c:v>0.003951682078885225</c:v>
                </c:pt>
                <c:pt idx="4">
                  <c:v>0.009585068161476971</c:v>
                </c:pt>
                <c:pt idx="5">
                  <c:v>0.011617534665054954</c:v>
                </c:pt>
                <c:pt idx="6">
                  <c:v>0.023865153547189606</c:v>
                </c:pt>
                <c:pt idx="7">
                  <c:v>0.03244569112415983</c:v>
                </c:pt>
                <c:pt idx="8">
                  <c:v>0.06956881042965776</c:v>
                </c:pt>
                <c:pt idx="9">
                  <c:v>0.013055252782569877</c:v>
                </c:pt>
                <c:pt idx="10">
                  <c:v>0.000516156561808732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917989836345125</c:v>
                </c:pt>
                <c:pt idx="1">
                  <c:v>0.003960526628104256</c:v>
                </c:pt>
                <c:pt idx="2">
                  <c:v>0.0075502093389398246</c:v>
                </c:pt>
                <c:pt idx="3">
                  <c:v>0.003951682078885225</c:v>
                </c:pt>
                <c:pt idx="4">
                  <c:v>0.009585068161476971</c:v>
                </c:pt>
                <c:pt idx="5">
                  <c:v>0.011617534665054954</c:v>
                </c:pt>
                <c:pt idx="6">
                  <c:v>0.023865153547189606</c:v>
                </c:pt>
                <c:pt idx="7">
                  <c:v>0.03244569112415983</c:v>
                </c:pt>
                <c:pt idx="8">
                  <c:v>0.06956881042965776</c:v>
                </c:pt>
                <c:pt idx="9">
                  <c:v>0.013055252782569877</c:v>
                </c:pt>
                <c:pt idx="10">
                  <c:v>0.000516156561808732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68180107995699</c:v>
                </c:pt>
                <c:pt idx="2">
                  <c:v>0.02922895821877096</c:v>
                </c:pt>
                <c:pt idx="3">
                  <c:v>0.0031519021903612604</c:v>
                </c:pt>
                <c:pt idx="4">
                  <c:v>0.015768353612406562</c:v>
                </c:pt>
                <c:pt idx="5">
                  <c:v>0.014096812643019338</c:v>
                </c:pt>
                <c:pt idx="6">
                  <c:v>0.034586590784087844</c:v>
                </c:pt>
                <c:pt idx="7">
                  <c:v>0.164633817437624</c:v>
                </c:pt>
                <c:pt idx="8">
                  <c:v>0.2164237616324487</c:v>
                </c:pt>
                <c:pt idx="9">
                  <c:v>0.2142809852960246</c:v>
                </c:pt>
                <c:pt idx="10">
                  <c:v>0.303569672264184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4719060721600725</c:v>
                </c:pt>
                <c:pt idx="1">
                  <c:v>0.0008424507496731342</c:v>
                </c:pt>
                <c:pt idx="2">
                  <c:v>0.004758191255891175</c:v>
                </c:pt>
                <c:pt idx="3">
                  <c:v>0.011334511794249763</c:v>
                </c:pt>
                <c:pt idx="4">
                  <c:v>0.01545023403037118</c:v>
                </c:pt>
                <c:pt idx="5">
                  <c:v>0.017254320157169965</c:v>
                </c:pt>
                <c:pt idx="6">
                  <c:v>0.010161956858912437</c:v>
                </c:pt>
                <c:pt idx="7">
                  <c:v>0.031658217739082894</c:v>
                </c:pt>
                <c:pt idx="8">
                  <c:v>0.02046361829439038</c:v>
                </c:pt>
                <c:pt idx="9">
                  <c:v>0.0062005500124722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68180107995699</c:v>
                </c:pt>
                <c:pt idx="2">
                  <c:v>0.02922895821877096</c:v>
                </c:pt>
                <c:pt idx="3">
                  <c:v>0.0031519021903612604</c:v>
                </c:pt>
                <c:pt idx="4">
                  <c:v>0.015768353612406562</c:v>
                </c:pt>
                <c:pt idx="5">
                  <c:v>0.014096812643019338</c:v>
                </c:pt>
                <c:pt idx="6">
                  <c:v>0.034586590784087844</c:v>
                </c:pt>
                <c:pt idx="7">
                  <c:v>0.164633817437624</c:v>
                </c:pt>
                <c:pt idx="8">
                  <c:v>0.2164237616324487</c:v>
                </c:pt>
                <c:pt idx="9">
                  <c:v>0.2142809852960246</c:v>
                </c:pt>
                <c:pt idx="10">
                  <c:v>0.303569672264184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4546238917179327</c:v>
                </c:pt>
                <c:pt idx="3">
                  <c:v>0.0010920196899541514</c:v>
                </c:pt>
                <c:pt idx="4">
                  <c:v>0.0007479358974105629</c:v>
                </c:pt>
                <c:pt idx="5">
                  <c:v>0.002991585619070438</c:v>
                </c:pt>
                <c:pt idx="6">
                  <c:v>0.0019111209919412718</c:v>
                </c:pt>
                <c:pt idx="7">
                  <c:v>0.006264643698769066</c:v>
                </c:pt>
                <c:pt idx="8">
                  <c:v>0.007051742326269786</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224635563361237</c:v>
                </c:pt>
                <c:pt idx="3">
                  <c:v>0.008267621535990682</c:v>
                </c:pt>
                <c:pt idx="4">
                  <c:v>0.0032259301173241284</c:v>
                </c:pt>
                <c:pt idx="5">
                  <c:v>0.008277474302525395</c:v>
                </c:pt>
                <c:pt idx="6">
                  <c:v>0.022484355313998464</c:v>
                </c:pt>
                <c:pt idx="7">
                  <c:v>0.019925659765518522</c:v>
                </c:pt>
                <c:pt idx="8">
                  <c:v>0.04714406500671023</c:v>
                </c:pt>
                <c:pt idx="9">
                  <c:v>0.021616406176021893</c:v>
                </c:pt>
                <c:pt idx="10">
                  <c:v>0.01705801186277462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4</c:v>
                </c:pt>
                <c:pt idx="5">
                  <c:v>0.07999615168178827</c:v>
                </c:pt>
                <c:pt idx="6">
                  <c:v>0.09644564249232464</c:v>
                </c:pt>
                <c:pt idx="7">
                  <c:v>0.11128880451125543</c:v>
                </c:pt>
                <c:pt idx="8">
                  <c:v>0.1775377473943334</c:v>
                </c:pt>
                <c:pt idx="9">
                  <c:v>0.0092913757652238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0658117345742279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4</c:v>
                </c:pt>
                <c:pt idx="5">
                  <c:v>0.07999615168178827</c:v>
                </c:pt>
                <c:pt idx="6">
                  <c:v>0.09644564249232464</c:v>
                </c:pt>
                <c:pt idx="7">
                  <c:v>0.11128880451125543</c:v>
                </c:pt>
                <c:pt idx="8">
                  <c:v>0.1775377473943334</c:v>
                </c:pt>
                <c:pt idx="9">
                  <c:v>0.0092913757652238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323569124515268</c:v>
                </c:pt>
                <c:pt idx="1">
                  <c:v>0.0029678834981392197</c:v>
                </c:pt>
                <c:pt idx="2">
                  <c:v>0.003975900928092005</c:v>
                </c:pt>
                <c:pt idx="3">
                  <c:v>0.0108123645196292</c:v>
                </c:pt>
                <c:pt idx="4">
                  <c:v>0.014436809995626737</c:v>
                </c:pt>
                <c:pt idx="5">
                  <c:v>0.016080569963754322</c:v>
                </c:pt>
                <c:pt idx="6">
                  <c:v>0.025162732838079276</c:v>
                </c:pt>
                <c:pt idx="7">
                  <c:v>0.049930890117067195</c:v>
                </c:pt>
                <c:pt idx="8">
                  <c:v>0.043408646218090055</c:v>
                </c:pt>
                <c:pt idx="9">
                  <c:v>0.01215003971626934</c:v>
                </c:pt>
                <c:pt idx="10">
                  <c:v>0.05804241915078134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2</c:v>
                </c:pt>
                <c:pt idx="2">
                  <c:v>0.025308299426034547</c:v>
                </c:pt>
                <c:pt idx="3">
                  <c:v>0.05376235000431038</c:v>
                </c:pt>
                <c:pt idx="4">
                  <c:v>0.06047976889902426</c:v>
                </c:pt>
                <c:pt idx="5">
                  <c:v>0.11906086687087766</c:v>
                </c:pt>
                <c:pt idx="6">
                  <c:v>0.13389055283916435</c:v>
                </c:pt>
                <c:pt idx="7">
                  <c:v>0.18936383046379757</c:v>
                </c:pt>
                <c:pt idx="8">
                  <c:v>0.2079537278099954</c:v>
                </c:pt>
                <c:pt idx="9">
                  <c:v>0.1370361635363881</c:v>
                </c:pt>
                <c:pt idx="10">
                  <c:v>0.02671768734930402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6156924401888873</c:v>
                </c:pt>
                <c:pt idx="1">
                  <c:v>0.0019750903821412666</c:v>
                </c:pt>
                <c:pt idx="2">
                  <c:v>0.004460004651976185</c:v>
                </c:pt>
                <c:pt idx="3">
                  <c:v>0.021676188324313603</c:v>
                </c:pt>
                <c:pt idx="4">
                  <c:v>0.016873405852113957</c:v>
                </c:pt>
                <c:pt idx="5">
                  <c:v>0.01632259427519659</c:v>
                </c:pt>
                <c:pt idx="6">
                  <c:v>0.009162292884169847</c:v>
                </c:pt>
                <c:pt idx="7">
                  <c:v>0.026675557469277255</c:v>
                </c:pt>
                <c:pt idx="8">
                  <c:v>0.02190555269301163</c:v>
                </c:pt>
                <c:pt idx="9">
                  <c:v>0.002519760364659387</c:v>
                </c:pt>
                <c:pt idx="10">
                  <c:v>0.00117756691681175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687721138806102</c:v>
                </c:pt>
                <c:pt idx="4">
                  <c:v>0.00413778096601834</c:v>
                </c:pt>
                <c:pt idx="5">
                  <c:v>0.005769305124771625</c:v>
                </c:pt>
                <c:pt idx="6">
                  <c:v>0.0028979991016709087</c:v>
                </c:pt>
                <c:pt idx="7">
                  <c:v>0.006704058442431768</c:v>
                </c:pt>
                <c:pt idx="8">
                  <c:v>0.0020856655822744283</c:v>
                </c:pt>
                <c:pt idx="9">
                  <c:v>0.0018707747056201961</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2645204450961205</c:v>
                </c:pt>
                <c:pt idx="2">
                  <c:v>0.0008922086978174165</c:v>
                </c:pt>
                <c:pt idx="3">
                  <c:v>0.008890002281996521</c:v>
                </c:pt>
                <c:pt idx="4">
                  <c:v>0.0034852812814458577</c:v>
                </c:pt>
                <c:pt idx="5">
                  <c:v>0.011752993633068051</c:v>
                </c:pt>
                <c:pt idx="6">
                  <c:v>0.014915159471699387</c:v>
                </c:pt>
                <c:pt idx="7">
                  <c:v>0.037470503452530085</c:v>
                </c:pt>
                <c:pt idx="8">
                  <c:v>0.037147680845176674</c:v>
                </c:pt>
                <c:pt idx="9">
                  <c:v>0.023311076778251286</c:v>
                </c:pt>
                <c:pt idx="10">
                  <c:v>0.00700292949415178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21135159571873</c:v>
                </c:pt>
                <c:pt idx="1">
                  <c:v>0.0036899242420086594</c:v>
                </c:pt>
                <c:pt idx="2">
                  <c:v>0.008061650265363254</c:v>
                </c:pt>
                <c:pt idx="3">
                  <c:v>0.012221163332728317</c:v>
                </c:pt>
                <c:pt idx="4">
                  <c:v>0.009172075708646577</c:v>
                </c:pt>
                <c:pt idx="5">
                  <c:v>0.02727538387217576</c:v>
                </c:pt>
                <c:pt idx="6">
                  <c:v>0.036457590892748255</c:v>
                </c:pt>
                <c:pt idx="7">
                  <c:v>0.041942519658601025</c:v>
                </c:pt>
                <c:pt idx="8">
                  <c:v>0.04373578704538852</c:v>
                </c:pt>
                <c:pt idx="9">
                  <c:v>0.051824970469332564</c:v>
                </c:pt>
                <c:pt idx="10">
                  <c:v>0.015973154116971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146139338108645</c:v>
                </c:pt>
                <c:pt idx="1">
                  <c:v>0.006041321442146539</c:v>
                </c:pt>
                <c:pt idx="2">
                  <c:v>0.002479713459043754</c:v>
                </c:pt>
                <c:pt idx="3">
                  <c:v>0.00542251771131146</c:v>
                </c:pt>
                <c:pt idx="4">
                  <c:v>0.014647987527382434</c:v>
                </c:pt>
                <c:pt idx="5">
                  <c:v>0.03867168271285739</c:v>
                </c:pt>
                <c:pt idx="6">
                  <c:v>0.034957308697417255</c:v>
                </c:pt>
                <c:pt idx="7">
                  <c:v>0.045440172907016844</c:v>
                </c:pt>
                <c:pt idx="8">
                  <c:v>0.06470167447026794</c:v>
                </c:pt>
                <c:pt idx="9">
                  <c:v>0.041080999057069814</c:v>
                </c:pt>
                <c:pt idx="10">
                  <c:v>0.001675934445244154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2</c:v>
                </c:pt>
                <c:pt idx="2">
                  <c:v>0.025308299426034547</c:v>
                </c:pt>
                <c:pt idx="3">
                  <c:v>0.05376235000431038</c:v>
                </c:pt>
                <c:pt idx="4">
                  <c:v>0.06047976889902426</c:v>
                </c:pt>
                <c:pt idx="5">
                  <c:v>0.11906086687087766</c:v>
                </c:pt>
                <c:pt idx="6">
                  <c:v>0.13389055283916435</c:v>
                </c:pt>
                <c:pt idx="7">
                  <c:v>0.18936383046379757</c:v>
                </c:pt>
                <c:pt idx="8">
                  <c:v>0.2079537278099954</c:v>
                </c:pt>
                <c:pt idx="9">
                  <c:v>0.1370361635363881</c:v>
                </c:pt>
                <c:pt idx="10">
                  <c:v>0.02671768734930402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828116131706631</c:v>
                </c:pt>
                <c:pt idx="2">
                  <c:v>0.0030098900738080516</c:v>
                </c:pt>
                <c:pt idx="3">
                  <c:v>0.0010402111849842667</c:v>
                </c:pt>
                <c:pt idx="4">
                  <c:v>0.004818518734354006</c:v>
                </c:pt>
                <c:pt idx="5">
                  <c:v>0.009944492177066288</c:v>
                </c:pt>
                <c:pt idx="6">
                  <c:v>0.007487798765379195</c:v>
                </c:pt>
                <c:pt idx="7">
                  <c:v>0.0019435688310811372</c:v>
                </c:pt>
                <c:pt idx="8">
                  <c:v>0.003394697070460796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018096480880986</c:v>
                </c:pt>
                <c:pt idx="1">
                  <c:v>0.004989599214171537</c:v>
                </c:pt>
                <c:pt idx="2">
                  <c:v>0.0029171343815300936</c:v>
                </c:pt>
                <c:pt idx="3">
                  <c:v>0.003526079161476953</c:v>
                </c:pt>
                <c:pt idx="4">
                  <c:v>0.0061212893484787504</c:v>
                </c:pt>
                <c:pt idx="5">
                  <c:v>0.04107188309778545</c:v>
                </c:pt>
                <c:pt idx="6">
                  <c:v>0.03573355517034819</c:v>
                </c:pt>
                <c:pt idx="7">
                  <c:v>0.03963147001583641</c:v>
                </c:pt>
                <c:pt idx="8">
                  <c:v>0.074077316013804</c:v>
                </c:pt>
                <c:pt idx="9">
                  <c:v>0.049493859009062086</c:v>
                </c:pt>
                <c:pt idx="10">
                  <c:v>0.00575544077167424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07063617840163</c:v>
                </c:pt>
                <c:pt idx="1">
                  <c:v>0.0028111852108087237</c:v>
                </c:pt>
                <c:pt idx="2">
                  <c:v>0.011733795016715528</c:v>
                </c:pt>
                <c:pt idx="3">
                  <c:v>0.007574852123027206</c:v>
                </c:pt>
                <c:pt idx="4">
                  <c:v>0.019009215663064603</c:v>
                </c:pt>
                <c:pt idx="5">
                  <c:v>0.011686734111054543</c:v>
                </c:pt>
                <c:pt idx="6">
                  <c:v>0.044282416000018386</c:v>
                </c:pt>
                <c:pt idx="7">
                  <c:v>0.13481352044305056</c:v>
                </c:pt>
                <c:pt idx="8">
                  <c:v>0.11237839726299749</c:v>
                </c:pt>
                <c:pt idx="9">
                  <c:v>0.48396240184152367</c:v>
                </c:pt>
                <c:pt idx="10">
                  <c:v>0.165340418709899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917989836345125</c:v>
                </c:pt>
                <c:pt idx="1">
                  <c:v>0.003960526628104256</c:v>
                </c:pt>
                <c:pt idx="2">
                  <c:v>0.0075502093389398246</c:v>
                </c:pt>
                <c:pt idx="3">
                  <c:v>0.003951682078885225</c:v>
                </c:pt>
                <c:pt idx="4">
                  <c:v>0.009585068161476971</c:v>
                </c:pt>
                <c:pt idx="5">
                  <c:v>0.011617534665054954</c:v>
                </c:pt>
                <c:pt idx="6">
                  <c:v>0.023865153547189606</c:v>
                </c:pt>
                <c:pt idx="7">
                  <c:v>0.03244569112415983</c:v>
                </c:pt>
                <c:pt idx="8">
                  <c:v>0.06956881042965776</c:v>
                </c:pt>
                <c:pt idx="9">
                  <c:v>0.013055252782569877</c:v>
                </c:pt>
                <c:pt idx="10">
                  <c:v>0.000516156561808732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07063617840163</c:v>
                </c:pt>
                <c:pt idx="1">
                  <c:v>0.0028111852108087237</c:v>
                </c:pt>
                <c:pt idx="2">
                  <c:v>0.011733795016715528</c:v>
                </c:pt>
                <c:pt idx="3">
                  <c:v>0.007574852123027206</c:v>
                </c:pt>
                <c:pt idx="4">
                  <c:v>0.019009215663064603</c:v>
                </c:pt>
                <c:pt idx="5">
                  <c:v>0.011686734111054543</c:v>
                </c:pt>
                <c:pt idx="6">
                  <c:v>0.044282416000018386</c:v>
                </c:pt>
                <c:pt idx="7">
                  <c:v>0.13481352044305056</c:v>
                </c:pt>
                <c:pt idx="8">
                  <c:v>0.11237839726299749</c:v>
                </c:pt>
                <c:pt idx="9">
                  <c:v>0.48396240184152367</c:v>
                </c:pt>
                <c:pt idx="10">
                  <c:v>0.165340418709899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100304976349817</c:v>
                </c:pt>
                <c:pt idx="3">
                  <c:v>0.26868346656608316</c:v>
                </c:pt>
                <c:pt idx="4">
                  <c:v>0.24448648886529212</c:v>
                </c:pt>
                <c:pt idx="5">
                  <c:v>0.09711309197384473</c:v>
                </c:pt>
                <c:pt idx="6">
                  <c:v>0.02982395736803779</c:v>
                </c:pt>
                <c:pt idx="7">
                  <c:v>0.16451004332234603</c:v>
                </c:pt>
                <c:pt idx="8">
                  <c:v>0.1923090863418820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100304976349817</c:v>
                </c:pt>
                <c:pt idx="3">
                  <c:v>0.26868346656608316</c:v>
                </c:pt>
                <c:pt idx="4">
                  <c:v>0.24448648886529212</c:v>
                </c:pt>
                <c:pt idx="5">
                  <c:v>0.09711309197384473</c:v>
                </c:pt>
                <c:pt idx="6">
                  <c:v>0.02982395736803779</c:v>
                </c:pt>
                <c:pt idx="7">
                  <c:v>0.16451004332234603</c:v>
                </c:pt>
                <c:pt idx="8">
                  <c:v>0.1923090863418820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16802825232</c:v>
                </c:pt>
                <c:pt idx="1">
                  <c:v>0.016257884832080138</c:v>
                </c:pt>
                <c:pt idx="2">
                  <c:v>0.021276504885351145</c:v>
                </c:pt>
                <c:pt idx="3">
                  <c:v>0.03946846894890925</c:v>
                </c:pt>
                <c:pt idx="4">
                  <c:v>0.051557744079106294</c:v>
                </c:pt>
                <c:pt idx="5">
                  <c:v>0.10236317325345326</c:v>
                </c:pt>
                <c:pt idx="6">
                  <c:v>0.1307466067294137</c:v>
                </c:pt>
                <c:pt idx="7">
                  <c:v>0.17793801242919716</c:v>
                </c:pt>
                <c:pt idx="8">
                  <c:v>0.2564205262308883</c:v>
                </c:pt>
                <c:pt idx="9">
                  <c:v>0.10337145839958196</c:v>
                </c:pt>
                <c:pt idx="10">
                  <c:v>0.0818024521837664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82354452281678</c:v>
                </c:pt>
                <c:pt idx="1">
                  <c:v>0.01063195709550814</c:v>
                </c:pt>
                <c:pt idx="2">
                  <c:v>0.017221234411258925</c:v>
                </c:pt>
                <c:pt idx="3">
                  <c:v>0.06680775222126652</c:v>
                </c:pt>
                <c:pt idx="4">
                  <c:v>0.04925062777639061</c:v>
                </c:pt>
                <c:pt idx="5">
                  <c:v>0.11852846252856482</c:v>
                </c:pt>
                <c:pt idx="6">
                  <c:v>0.13127207598354879</c:v>
                </c:pt>
                <c:pt idx="7">
                  <c:v>0.18044499841671938</c:v>
                </c:pt>
                <c:pt idx="8">
                  <c:v>0.23112965900723814</c:v>
                </c:pt>
                <c:pt idx="9">
                  <c:v>0.10923037007143092</c:v>
                </c:pt>
                <c:pt idx="10">
                  <c:v>0.068900508035792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914325723460334</c:v>
                </c:pt>
                <c:pt idx="1">
                  <c:v>0.002305581989624116</c:v>
                </c:pt>
                <c:pt idx="2">
                  <c:v>0.0063943638096728705</c:v>
                </c:pt>
                <c:pt idx="3">
                  <c:v>0.02734180688508088</c:v>
                </c:pt>
                <c:pt idx="4">
                  <c:v>0.00887556430819835</c:v>
                </c:pt>
                <c:pt idx="5">
                  <c:v>0.01622312541348651</c:v>
                </c:pt>
                <c:pt idx="6">
                  <c:v>0.006141217984662486</c:v>
                </c:pt>
                <c:pt idx="7">
                  <c:v>0.02968498052094548</c:v>
                </c:pt>
                <c:pt idx="8">
                  <c:v>0.020126327933237556</c:v>
                </c:pt>
                <c:pt idx="9">
                  <c:v>0.01191409613132025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5243422027842138</c:v>
                </c:pt>
                <c:pt idx="2">
                  <c:v>0.002102034168663126</c:v>
                </c:pt>
                <c:pt idx="3">
                  <c:v>0.010576402164695872</c:v>
                </c:pt>
                <c:pt idx="4">
                  <c:v>0.006137762164272656</c:v>
                </c:pt>
                <c:pt idx="5">
                  <c:v>0.004654780621441087</c:v>
                </c:pt>
                <c:pt idx="6">
                  <c:v>0.0013971078968719594</c:v>
                </c:pt>
                <c:pt idx="7">
                  <c:v>0.012103558866146936</c:v>
                </c:pt>
                <c:pt idx="8">
                  <c:v>0.0018740460179451713</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7327421352016318</c:v>
                </c:pt>
                <c:pt idx="2">
                  <c:v>0.0009762186445758247</c:v>
                </c:pt>
                <c:pt idx="3">
                  <c:v>0.012550534326294788</c:v>
                </c:pt>
                <c:pt idx="4">
                  <c:v>0.004216629720834134</c:v>
                </c:pt>
                <c:pt idx="5">
                  <c:v>0.015716072784834445</c:v>
                </c:pt>
                <c:pt idx="6">
                  <c:v>0.021370599555323534</c:v>
                </c:pt>
                <c:pt idx="7">
                  <c:v>0.02226059722653693</c:v>
                </c:pt>
                <c:pt idx="8">
                  <c:v>0.054572257812236735</c:v>
                </c:pt>
                <c:pt idx="9">
                  <c:v>0.017970548776057242</c:v>
                </c:pt>
                <c:pt idx="10">
                  <c:v>0.01539225368748820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340242794427519</c:v>
                </c:pt>
                <c:pt idx="1">
                  <c:v>0.0012727891786307522</c:v>
                </c:pt>
                <c:pt idx="2">
                  <c:v>0.001726004270310525</c:v>
                </c:pt>
                <c:pt idx="3">
                  <c:v>0.0015762098586774285</c:v>
                </c:pt>
                <c:pt idx="4">
                  <c:v>0.0027384124258285265</c:v>
                </c:pt>
                <c:pt idx="5">
                  <c:v>0.008061391067163168</c:v>
                </c:pt>
                <c:pt idx="6">
                  <c:v>0.013338853000885748</c:v>
                </c:pt>
                <c:pt idx="7">
                  <c:v>0.0043460836675323035</c:v>
                </c:pt>
                <c:pt idx="8">
                  <c:v>0.0017580702682358405</c:v>
                </c:pt>
                <c:pt idx="9">
                  <c:v>0.000855350703186541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834385939280542</c:v>
                </c:pt>
                <c:pt idx="1">
                  <c:v>0.0008361409794108802</c:v>
                </c:pt>
                <c:pt idx="2">
                  <c:v>0.00440872795504902</c:v>
                </c:pt>
                <c:pt idx="3">
                  <c:v>0.019751736201982145</c:v>
                </c:pt>
                <c:pt idx="4">
                  <c:v>0.005156569232772076</c:v>
                </c:pt>
                <c:pt idx="5">
                  <c:v>0.01708061393794184</c:v>
                </c:pt>
                <c:pt idx="6">
                  <c:v>0.025008660364438287</c:v>
                </c:pt>
                <c:pt idx="7">
                  <c:v>0.04484127498108929</c:v>
                </c:pt>
                <c:pt idx="8">
                  <c:v>0.03170082687815901</c:v>
                </c:pt>
                <c:pt idx="9">
                  <c:v>0.028595559323509056</c:v>
                </c:pt>
                <c:pt idx="10">
                  <c:v>0.0341396307438110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930483926575316</c:v>
                </c:pt>
                <c:pt idx="1">
                  <c:v>0.00201627571671651</c:v>
                </c:pt>
                <c:pt idx="2">
                  <c:v>0.0020831947114470523</c:v>
                </c:pt>
                <c:pt idx="3">
                  <c:v>0.0036149679002370557</c:v>
                </c:pt>
                <c:pt idx="4">
                  <c:v>0.018623932708488777</c:v>
                </c:pt>
                <c:pt idx="5">
                  <c:v>0.045053120261713535</c:v>
                </c:pt>
                <c:pt idx="6">
                  <c:v>0.0371859433989016</c:v>
                </c:pt>
                <c:pt idx="7">
                  <c:v>0.04868551387446174</c:v>
                </c:pt>
                <c:pt idx="8">
                  <c:v>0.05827003449954222</c:v>
                </c:pt>
                <c:pt idx="9">
                  <c:v>0.036009730494129276</c:v>
                </c:pt>
                <c:pt idx="10">
                  <c:v>0.01931986512044721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89049210835225</c:v>
                </c:pt>
                <c:pt idx="1">
                  <c:v>0.0015711852495085654</c:v>
                </c:pt>
                <c:pt idx="2">
                  <c:v>0.0028092608299865123</c:v>
                </c:pt>
                <c:pt idx="3">
                  <c:v>0.0021388316743594826</c:v>
                </c:pt>
                <c:pt idx="4">
                  <c:v>0.008995411461172121</c:v>
                </c:pt>
                <c:pt idx="5">
                  <c:v>0.01581956587869069</c:v>
                </c:pt>
                <c:pt idx="6">
                  <c:v>0.03491982583091104</c:v>
                </c:pt>
                <c:pt idx="7">
                  <c:v>0.02750118303815004</c:v>
                </c:pt>
                <c:pt idx="8">
                  <c:v>0.06289412464333949</c:v>
                </c:pt>
                <c:pt idx="9">
                  <c:v>0.01369170730675083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82354452281678</c:v>
                </c:pt>
                <c:pt idx="1">
                  <c:v>0.01063195709550814</c:v>
                </c:pt>
                <c:pt idx="2">
                  <c:v>0.017221234411258925</c:v>
                </c:pt>
                <c:pt idx="3">
                  <c:v>0.06680775222126652</c:v>
                </c:pt>
                <c:pt idx="4">
                  <c:v>0.04925062777639061</c:v>
                </c:pt>
                <c:pt idx="5">
                  <c:v>0.11852846252856482</c:v>
                </c:pt>
                <c:pt idx="6">
                  <c:v>0.13127207598354879</c:v>
                </c:pt>
                <c:pt idx="7">
                  <c:v>0.18044499841671938</c:v>
                </c:pt>
                <c:pt idx="8">
                  <c:v>0.23112965900723814</c:v>
                </c:pt>
                <c:pt idx="9">
                  <c:v>0.10923037007143092</c:v>
                </c:pt>
                <c:pt idx="10">
                  <c:v>0.068900508035792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014030030377552</c:v>
                </c:pt>
                <c:pt idx="1">
                  <c:v>0.003170031025046437</c:v>
                </c:pt>
                <c:pt idx="2">
                  <c:v>0.0005494684605276448</c:v>
                </c:pt>
                <c:pt idx="3">
                  <c:v>0.0014098752333121648</c:v>
                </c:pt>
                <c:pt idx="4">
                  <c:v>0.003382520344925154</c:v>
                </c:pt>
                <c:pt idx="5">
                  <c:v>0.008635964251897799</c:v>
                </c:pt>
                <c:pt idx="6">
                  <c:v>0.006645828849311837</c:v>
                </c:pt>
                <c:pt idx="7">
                  <c:v>0.0074714487755359014</c:v>
                </c:pt>
                <c:pt idx="8">
                  <c:v>0.0035660872407231262</c:v>
                </c:pt>
                <c:pt idx="9">
                  <c:v>0.001048728039664258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89049210835225</c:v>
                </c:pt>
                <c:pt idx="1">
                  <c:v>0.0015711852495085654</c:v>
                </c:pt>
                <c:pt idx="2">
                  <c:v>0.0028092608299865123</c:v>
                </c:pt>
                <c:pt idx="3">
                  <c:v>0.0021388316743594826</c:v>
                </c:pt>
                <c:pt idx="4">
                  <c:v>0.008995411461172121</c:v>
                </c:pt>
                <c:pt idx="5">
                  <c:v>0.01581956587869069</c:v>
                </c:pt>
                <c:pt idx="6">
                  <c:v>0.03491982583091104</c:v>
                </c:pt>
                <c:pt idx="7">
                  <c:v>0.02750118303815004</c:v>
                </c:pt>
                <c:pt idx="8">
                  <c:v>0.06289412464333949</c:v>
                </c:pt>
                <c:pt idx="9">
                  <c:v>0.01369170730675083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89049210835225</c:v>
                </c:pt>
                <c:pt idx="1">
                  <c:v>0.0015711852495085654</c:v>
                </c:pt>
                <c:pt idx="2">
                  <c:v>0.0028092608299865123</c:v>
                </c:pt>
                <c:pt idx="3">
                  <c:v>0.0021388316743594826</c:v>
                </c:pt>
                <c:pt idx="4">
                  <c:v>0.008995411461172121</c:v>
                </c:pt>
                <c:pt idx="5">
                  <c:v>0.01581956587869069</c:v>
                </c:pt>
                <c:pt idx="6">
                  <c:v>0.03491982583091104</c:v>
                </c:pt>
                <c:pt idx="7">
                  <c:v>0.02750118303815004</c:v>
                </c:pt>
                <c:pt idx="8">
                  <c:v>0.06289412464333949</c:v>
                </c:pt>
                <c:pt idx="9">
                  <c:v>0.01369170730675083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89049210835225</c:v>
                </c:pt>
                <c:pt idx="1">
                  <c:v>0.0015711852495085654</c:v>
                </c:pt>
                <c:pt idx="2">
                  <c:v>0.0028092608299865123</c:v>
                </c:pt>
                <c:pt idx="3">
                  <c:v>0.0021388316743594826</c:v>
                </c:pt>
                <c:pt idx="4">
                  <c:v>0.008995411461172121</c:v>
                </c:pt>
                <c:pt idx="5">
                  <c:v>0.01581956587869069</c:v>
                </c:pt>
                <c:pt idx="6">
                  <c:v>0.03491982583091104</c:v>
                </c:pt>
                <c:pt idx="7">
                  <c:v>0.02750118303815004</c:v>
                </c:pt>
                <c:pt idx="8">
                  <c:v>0.06289412464333949</c:v>
                </c:pt>
                <c:pt idx="9">
                  <c:v>0.01369170730675083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8030213217652804</c:v>
                </c:pt>
                <c:pt idx="1">
                  <c:v>0.001136218009126783</c:v>
                </c:pt>
                <c:pt idx="2">
                  <c:v>0.03902508511291027</c:v>
                </c:pt>
                <c:pt idx="3">
                  <c:v>0.010743820448448566</c:v>
                </c:pt>
                <c:pt idx="4">
                  <c:v>0.008513844935433352</c:v>
                </c:pt>
                <c:pt idx="5">
                  <c:v>0.010761112831630315</c:v>
                </c:pt>
                <c:pt idx="6">
                  <c:v>0.07763991842218361</c:v>
                </c:pt>
                <c:pt idx="7">
                  <c:v>0.17609201899160237</c:v>
                </c:pt>
                <c:pt idx="8">
                  <c:v>0.21875489647669405</c:v>
                </c:pt>
                <c:pt idx="9">
                  <c:v>0.2442479212971707</c:v>
                </c:pt>
                <c:pt idx="10">
                  <c:v>0.2072821421530346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8030213217652804</c:v>
                </c:pt>
                <c:pt idx="1">
                  <c:v>0.001136218009126783</c:v>
                </c:pt>
                <c:pt idx="2">
                  <c:v>0.03902508511291027</c:v>
                </c:pt>
                <c:pt idx="3">
                  <c:v>0.010743820448448566</c:v>
                </c:pt>
                <c:pt idx="4">
                  <c:v>0.008513844935433352</c:v>
                </c:pt>
                <c:pt idx="5">
                  <c:v>0.010761112831630315</c:v>
                </c:pt>
                <c:pt idx="6">
                  <c:v>0.07763991842218361</c:v>
                </c:pt>
                <c:pt idx="7">
                  <c:v>0.17609201899160237</c:v>
                </c:pt>
                <c:pt idx="8">
                  <c:v>0.21875489647669405</c:v>
                </c:pt>
                <c:pt idx="9">
                  <c:v>0.2442479212971707</c:v>
                </c:pt>
                <c:pt idx="10">
                  <c:v>0.2072821421530346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917989836345125</c:v>
                </c:pt>
                <c:pt idx="1">
                  <c:v>0.003960526628104256</c:v>
                </c:pt>
                <c:pt idx="2">
                  <c:v>0.0075502093389398246</c:v>
                </c:pt>
                <c:pt idx="3">
                  <c:v>0.003951682078885225</c:v>
                </c:pt>
                <c:pt idx="4">
                  <c:v>0.009585068161476971</c:v>
                </c:pt>
                <c:pt idx="5">
                  <c:v>0.011617534665054954</c:v>
                </c:pt>
                <c:pt idx="6">
                  <c:v>0.023865153547189606</c:v>
                </c:pt>
                <c:pt idx="7">
                  <c:v>0.03244569112415983</c:v>
                </c:pt>
                <c:pt idx="8">
                  <c:v>0.06956881042965776</c:v>
                </c:pt>
                <c:pt idx="9">
                  <c:v>0.013055252782569877</c:v>
                </c:pt>
                <c:pt idx="10">
                  <c:v>0.000516156561808732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66596838760698</c:v>
                </c:pt>
                <c:pt idx="1">
                  <c:v>0.0006556122106747299</c:v>
                </c:pt>
                <c:pt idx="2">
                  <c:v>0.0018510121405579355</c:v>
                </c:pt>
                <c:pt idx="3">
                  <c:v>0.1486048265665957</c:v>
                </c:pt>
                <c:pt idx="4">
                  <c:v>0.35492013915559956</c:v>
                </c:pt>
                <c:pt idx="5">
                  <c:v>0.09235001553468092</c:v>
                </c:pt>
                <c:pt idx="6">
                  <c:v>0.024791251760488343</c:v>
                </c:pt>
                <c:pt idx="7">
                  <c:v>0.12812412643390092</c:v>
                </c:pt>
                <c:pt idx="8">
                  <c:v>0.2210268323176925</c:v>
                </c:pt>
                <c:pt idx="9">
                  <c:v>0.00743898586373716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66596838760698</c:v>
                </c:pt>
                <c:pt idx="1">
                  <c:v>0.0006556122106747299</c:v>
                </c:pt>
                <c:pt idx="2">
                  <c:v>0.0018510121405579355</c:v>
                </c:pt>
                <c:pt idx="3">
                  <c:v>0.1486048265665957</c:v>
                </c:pt>
                <c:pt idx="4">
                  <c:v>0.35492013915559956</c:v>
                </c:pt>
                <c:pt idx="5">
                  <c:v>0.09235001553468092</c:v>
                </c:pt>
                <c:pt idx="6">
                  <c:v>0.024791251760488343</c:v>
                </c:pt>
                <c:pt idx="7">
                  <c:v>0.12812412643390092</c:v>
                </c:pt>
                <c:pt idx="8">
                  <c:v>0.2210268323176925</c:v>
                </c:pt>
                <c:pt idx="9">
                  <c:v>0.00743898586373716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917989836345125</c:v>
                </c:pt>
                <c:pt idx="1">
                  <c:v>0.003960526628104256</c:v>
                </c:pt>
                <c:pt idx="2">
                  <c:v>0.0075502093389398246</c:v>
                </c:pt>
                <c:pt idx="3">
                  <c:v>0.003951682078885225</c:v>
                </c:pt>
                <c:pt idx="4">
                  <c:v>0.009585068161476971</c:v>
                </c:pt>
                <c:pt idx="5">
                  <c:v>0.011617534665054954</c:v>
                </c:pt>
                <c:pt idx="6">
                  <c:v>0.023865153547189606</c:v>
                </c:pt>
                <c:pt idx="7">
                  <c:v>0.03244569112415983</c:v>
                </c:pt>
                <c:pt idx="8">
                  <c:v>0.06956881042965776</c:v>
                </c:pt>
                <c:pt idx="9">
                  <c:v>0.013055252782569877</c:v>
                </c:pt>
                <c:pt idx="10">
                  <c:v>0.000516156561808732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16802825232</c:v>
                </c:pt>
                <c:pt idx="1">
                  <c:v>0.016257884832080138</c:v>
                </c:pt>
                <c:pt idx="2">
                  <c:v>0.021276504885351145</c:v>
                </c:pt>
                <c:pt idx="3">
                  <c:v>0.03946846894890925</c:v>
                </c:pt>
                <c:pt idx="4">
                  <c:v>0.051557744079106294</c:v>
                </c:pt>
                <c:pt idx="5">
                  <c:v>0.10236317325345326</c:v>
                </c:pt>
                <c:pt idx="6">
                  <c:v>0.1307466067294137</c:v>
                </c:pt>
                <c:pt idx="7">
                  <c:v>0.17793801242919716</c:v>
                </c:pt>
                <c:pt idx="8">
                  <c:v>0.2564205262308883</c:v>
                </c:pt>
                <c:pt idx="9">
                  <c:v>0.10337145839958196</c:v>
                </c:pt>
                <c:pt idx="10">
                  <c:v>0.0818024521837664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4719060721600725</c:v>
                </c:pt>
                <c:pt idx="1">
                  <c:v>0.0008424507496731342</c:v>
                </c:pt>
                <c:pt idx="2">
                  <c:v>0.004758191255891175</c:v>
                </c:pt>
                <c:pt idx="3">
                  <c:v>0.011334511794249763</c:v>
                </c:pt>
                <c:pt idx="4">
                  <c:v>0.01545023403037118</c:v>
                </c:pt>
                <c:pt idx="5">
                  <c:v>0.017254320157169965</c:v>
                </c:pt>
                <c:pt idx="6">
                  <c:v>0.010161956858912437</c:v>
                </c:pt>
                <c:pt idx="7">
                  <c:v>0.031658217739082894</c:v>
                </c:pt>
                <c:pt idx="8">
                  <c:v>0.02046361829439038</c:v>
                </c:pt>
                <c:pt idx="9">
                  <c:v>0.0062005500124722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224635563361237</c:v>
                </c:pt>
                <c:pt idx="3">
                  <c:v>0.008267621535990682</c:v>
                </c:pt>
                <c:pt idx="4">
                  <c:v>0.0032259301173241284</c:v>
                </c:pt>
                <c:pt idx="5">
                  <c:v>0.008277474302525395</c:v>
                </c:pt>
                <c:pt idx="6">
                  <c:v>0.022484355313998464</c:v>
                </c:pt>
                <c:pt idx="7">
                  <c:v>0.019925659765518522</c:v>
                </c:pt>
                <c:pt idx="8">
                  <c:v>0.04714406500671023</c:v>
                </c:pt>
                <c:pt idx="9">
                  <c:v>0.021616406176021893</c:v>
                </c:pt>
                <c:pt idx="10">
                  <c:v>0.01705801186277462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12992137567346953</c:v>
                </c:pt>
                <c:pt idx="6">
                  <c:v>0.0017253640500615628</c:v>
                </c:pt>
                <c:pt idx="7">
                  <c:v>0.0034467608078024713</c:v>
                </c:pt>
                <c:pt idx="8">
                  <c:v>0.008027565984667844</c:v>
                </c:pt>
                <c:pt idx="9">
                  <c:v>0.001092315124218984</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323569124515268</c:v>
                </c:pt>
                <c:pt idx="1">
                  <c:v>0.0029678834981392197</c:v>
                </c:pt>
                <c:pt idx="2">
                  <c:v>0.003975900928092005</c:v>
                </c:pt>
                <c:pt idx="3">
                  <c:v>0.0108123645196292</c:v>
                </c:pt>
                <c:pt idx="4">
                  <c:v>0.014436809995626737</c:v>
                </c:pt>
                <c:pt idx="5">
                  <c:v>0.016080569963754322</c:v>
                </c:pt>
                <c:pt idx="6">
                  <c:v>0.025162732838079276</c:v>
                </c:pt>
                <c:pt idx="7">
                  <c:v>0.049930890117067195</c:v>
                </c:pt>
                <c:pt idx="8">
                  <c:v>0.043408646218090055</c:v>
                </c:pt>
                <c:pt idx="9">
                  <c:v>0.01215003971626934</c:v>
                </c:pt>
                <c:pt idx="10">
                  <c:v>0.05804241915078134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25408185078779847</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018096480880986</c:v>
                </c:pt>
                <c:pt idx="1">
                  <c:v>0.004989599214171537</c:v>
                </c:pt>
                <c:pt idx="2">
                  <c:v>0.0029171343815300936</c:v>
                </c:pt>
                <c:pt idx="3">
                  <c:v>0.003526079161476953</c:v>
                </c:pt>
                <c:pt idx="4">
                  <c:v>0.0061212893484787504</c:v>
                </c:pt>
                <c:pt idx="5">
                  <c:v>0.04107188309778545</c:v>
                </c:pt>
                <c:pt idx="6">
                  <c:v>0.03573355517034819</c:v>
                </c:pt>
                <c:pt idx="7">
                  <c:v>0.03963147001583641</c:v>
                </c:pt>
                <c:pt idx="8">
                  <c:v>0.074077316013804</c:v>
                </c:pt>
                <c:pt idx="9">
                  <c:v>0.049493859009062086</c:v>
                </c:pt>
                <c:pt idx="10">
                  <c:v>0.00575544077167424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917989836345125</c:v>
                </c:pt>
                <c:pt idx="1">
                  <c:v>0.003960526628104256</c:v>
                </c:pt>
                <c:pt idx="2">
                  <c:v>0.0075502093389398246</c:v>
                </c:pt>
                <c:pt idx="3">
                  <c:v>0.003951682078885225</c:v>
                </c:pt>
                <c:pt idx="4">
                  <c:v>0.009585068161476971</c:v>
                </c:pt>
                <c:pt idx="5">
                  <c:v>0.011617534665054954</c:v>
                </c:pt>
                <c:pt idx="6">
                  <c:v>0.023865153547189606</c:v>
                </c:pt>
                <c:pt idx="7">
                  <c:v>0.03244569112415983</c:v>
                </c:pt>
                <c:pt idx="8">
                  <c:v>0.06956881042965776</c:v>
                </c:pt>
                <c:pt idx="9">
                  <c:v>0.013055252782569877</c:v>
                </c:pt>
                <c:pt idx="10">
                  <c:v>0.000516156561808732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917989836345125</c:v>
                </c:pt>
                <c:pt idx="1">
                  <c:v>0.003960526628104256</c:v>
                </c:pt>
                <c:pt idx="2">
                  <c:v>0.0075502093389398246</c:v>
                </c:pt>
                <c:pt idx="3">
                  <c:v>0.003951682078885225</c:v>
                </c:pt>
                <c:pt idx="4">
                  <c:v>0.009585068161476971</c:v>
                </c:pt>
                <c:pt idx="5">
                  <c:v>0.011617534665054954</c:v>
                </c:pt>
                <c:pt idx="6">
                  <c:v>0.023865153547189606</c:v>
                </c:pt>
                <c:pt idx="7">
                  <c:v>0.03244569112415983</c:v>
                </c:pt>
                <c:pt idx="8">
                  <c:v>0.06956881042965776</c:v>
                </c:pt>
                <c:pt idx="9">
                  <c:v>0.013055252782569877</c:v>
                </c:pt>
                <c:pt idx="10">
                  <c:v>0.000516156561808732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16802825232</c:v>
                </c:pt>
                <c:pt idx="1">
                  <c:v>0.016257884832080138</c:v>
                </c:pt>
                <c:pt idx="2">
                  <c:v>0.021276504885351145</c:v>
                </c:pt>
                <c:pt idx="3">
                  <c:v>0.03946846894890925</c:v>
                </c:pt>
                <c:pt idx="4">
                  <c:v>0.051557744079106294</c:v>
                </c:pt>
                <c:pt idx="5">
                  <c:v>0.10236317325345326</c:v>
                </c:pt>
                <c:pt idx="6">
                  <c:v>0.1307466067294137</c:v>
                </c:pt>
                <c:pt idx="7">
                  <c:v>0.17793801242919716</c:v>
                </c:pt>
                <c:pt idx="8">
                  <c:v>0.2564205262308883</c:v>
                </c:pt>
                <c:pt idx="9">
                  <c:v>0.10337145839958196</c:v>
                </c:pt>
                <c:pt idx="10">
                  <c:v>0.0818024521837664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340242794427519</c:v>
                </c:pt>
                <c:pt idx="1">
                  <c:v>0.0012727891786307522</c:v>
                </c:pt>
                <c:pt idx="2">
                  <c:v>0.001726004270310525</c:v>
                </c:pt>
                <c:pt idx="3">
                  <c:v>0.0015762098586774285</c:v>
                </c:pt>
                <c:pt idx="4">
                  <c:v>0.0027384124258285265</c:v>
                </c:pt>
                <c:pt idx="5">
                  <c:v>0.008061391067163168</c:v>
                </c:pt>
                <c:pt idx="6">
                  <c:v>0.013338853000885748</c:v>
                </c:pt>
                <c:pt idx="7">
                  <c:v>0.0043460836675323035</c:v>
                </c:pt>
                <c:pt idx="8">
                  <c:v>0.0017580702682358405</c:v>
                </c:pt>
                <c:pt idx="9">
                  <c:v>0.000855350703186541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917989836345125</c:v>
                </c:pt>
                <c:pt idx="1">
                  <c:v>0.003960526628104256</c:v>
                </c:pt>
                <c:pt idx="2">
                  <c:v>0.0075502093389398246</c:v>
                </c:pt>
                <c:pt idx="3">
                  <c:v>0.003951682078885225</c:v>
                </c:pt>
                <c:pt idx="4">
                  <c:v>0.009585068161476971</c:v>
                </c:pt>
                <c:pt idx="5">
                  <c:v>0.011617534665054954</c:v>
                </c:pt>
                <c:pt idx="6">
                  <c:v>0.023865153547189606</c:v>
                </c:pt>
                <c:pt idx="7">
                  <c:v>0.03244569112415983</c:v>
                </c:pt>
                <c:pt idx="8">
                  <c:v>0.06956881042965776</c:v>
                </c:pt>
                <c:pt idx="9">
                  <c:v>0.013055252782569877</c:v>
                </c:pt>
                <c:pt idx="10">
                  <c:v>0.000516156561808732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917989836345125</c:v>
                </c:pt>
                <c:pt idx="1">
                  <c:v>0.003960526628104256</c:v>
                </c:pt>
                <c:pt idx="2">
                  <c:v>0.0075502093389398246</c:v>
                </c:pt>
                <c:pt idx="3">
                  <c:v>0.003951682078885225</c:v>
                </c:pt>
                <c:pt idx="4">
                  <c:v>0.009585068161476971</c:v>
                </c:pt>
                <c:pt idx="5">
                  <c:v>0.011617534665054954</c:v>
                </c:pt>
                <c:pt idx="6">
                  <c:v>0.023865153547189606</c:v>
                </c:pt>
                <c:pt idx="7">
                  <c:v>0.03244569112415983</c:v>
                </c:pt>
                <c:pt idx="8">
                  <c:v>0.06956881042965776</c:v>
                </c:pt>
                <c:pt idx="9">
                  <c:v>0.013055252782569877</c:v>
                </c:pt>
                <c:pt idx="10">
                  <c:v>0.000516156561808732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917989836345125</c:v>
                </c:pt>
                <c:pt idx="1">
                  <c:v>0.003960526628104256</c:v>
                </c:pt>
                <c:pt idx="2">
                  <c:v>0.0075502093389398246</c:v>
                </c:pt>
                <c:pt idx="3">
                  <c:v>0.003951682078885225</c:v>
                </c:pt>
                <c:pt idx="4">
                  <c:v>0.009585068161476971</c:v>
                </c:pt>
                <c:pt idx="5">
                  <c:v>0.011617534665054954</c:v>
                </c:pt>
                <c:pt idx="6">
                  <c:v>0.023865153547189606</c:v>
                </c:pt>
                <c:pt idx="7">
                  <c:v>0.03244569112415983</c:v>
                </c:pt>
                <c:pt idx="8">
                  <c:v>0.06956881042965776</c:v>
                </c:pt>
                <c:pt idx="9">
                  <c:v>0.013055252782569877</c:v>
                </c:pt>
                <c:pt idx="10">
                  <c:v>0.000516156561808732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68180107995699</c:v>
                </c:pt>
                <c:pt idx="2">
                  <c:v>0.02922895821877096</c:v>
                </c:pt>
                <c:pt idx="3">
                  <c:v>0.0031519021903612604</c:v>
                </c:pt>
                <c:pt idx="4">
                  <c:v>0.015768353612406562</c:v>
                </c:pt>
                <c:pt idx="5">
                  <c:v>0.014096812643019338</c:v>
                </c:pt>
                <c:pt idx="6">
                  <c:v>0.034586590784087844</c:v>
                </c:pt>
                <c:pt idx="7">
                  <c:v>0.164633817437624</c:v>
                </c:pt>
                <c:pt idx="8">
                  <c:v>0.2164237616324487</c:v>
                </c:pt>
                <c:pt idx="9">
                  <c:v>0.2142809852960246</c:v>
                </c:pt>
                <c:pt idx="10">
                  <c:v>0.303569672264184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68180107995699</c:v>
                </c:pt>
                <c:pt idx="2">
                  <c:v>0.02922895821877096</c:v>
                </c:pt>
                <c:pt idx="3">
                  <c:v>0.0031519021903612604</c:v>
                </c:pt>
                <c:pt idx="4">
                  <c:v>0.015768353612406562</c:v>
                </c:pt>
                <c:pt idx="5">
                  <c:v>0.014096812643019338</c:v>
                </c:pt>
                <c:pt idx="6">
                  <c:v>0.034586590784087844</c:v>
                </c:pt>
                <c:pt idx="7">
                  <c:v>0.164633817437624</c:v>
                </c:pt>
                <c:pt idx="8">
                  <c:v>0.2164237616324487</c:v>
                </c:pt>
                <c:pt idx="9">
                  <c:v>0.2142809852960246</c:v>
                </c:pt>
                <c:pt idx="10">
                  <c:v>0.303569672264184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68180107995699</c:v>
                </c:pt>
                <c:pt idx="2">
                  <c:v>0.02922895821877096</c:v>
                </c:pt>
                <c:pt idx="3">
                  <c:v>0.0031519021903612604</c:v>
                </c:pt>
                <c:pt idx="4">
                  <c:v>0.015768353612406562</c:v>
                </c:pt>
                <c:pt idx="5">
                  <c:v>0.014096812643019338</c:v>
                </c:pt>
                <c:pt idx="6">
                  <c:v>0.034586590784087844</c:v>
                </c:pt>
                <c:pt idx="7">
                  <c:v>0.164633817437624</c:v>
                </c:pt>
                <c:pt idx="8">
                  <c:v>0.2164237616324487</c:v>
                </c:pt>
                <c:pt idx="9">
                  <c:v>0.2142809852960246</c:v>
                </c:pt>
                <c:pt idx="10">
                  <c:v>0.303569672264184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4</c:v>
                </c:pt>
                <c:pt idx="5">
                  <c:v>0.07999615168178827</c:v>
                </c:pt>
                <c:pt idx="6">
                  <c:v>0.09644564249232464</c:v>
                </c:pt>
                <c:pt idx="7">
                  <c:v>0.11128880451125543</c:v>
                </c:pt>
                <c:pt idx="8">
                  <c:v>0.1775377473943334</c:v>
                </c:pt>
                <c:pt idx="9">
                  <c:v>0.0092913757652238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4</c:v>
                </c:pt>
                <c:pt idx="5">
                  <c:v>0.07999615168178827</c:v>
                </c:pt>
                <c:pt idx="6">
                  <c:v>0.09644564249232464</c:v>
                </c:pt>
                <c:pt idx="7">
                  <c:v>0.11128880451125543</c:v>
                </c:pt>
                <c:pt idx="8">
                  <c:v>0.1775377473943334</c:v>
                </c:pt>
                <c:pt idx="9">
                  <c:v>0.0092913757652238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2</c:v>
                </c:pt>
                <c:pt idx="2">
                  <c:v>0.025308299426034547</c:v>
                </c:pt>
                <c:pt idx="3">
                  <c:v>0.05376235000431038</c:v>
                </c:pt>
                <c:pt idx="4">
                  <c:v>0.06047976889902426</c:v>
                </c:pt>
                <c:pt idx="5">
                  <c:v>0.11906086687087766</c:v>
                </c:pt>
                <c:pt idx="6">
                  <c:v>0.13389055283916435</c:v>
                </c:pt>
                <c:pt idx="7">
                  <c:v>0.18936383046379757</c:v>
                </c:pt>
                <c:pt idx="8">
                  <c:v>0.2079537278099954</c:v>
                </c:pt>
                <c:pt idx="9">
                  <c:v>0.1370361635363881</c:v>
                </c:pt>
                <c:pt idx="10">
                  <c:v>0.02671768734930402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6156924401888873</c:v>
                </c:pt>
                <c:pt idx="1">
                  <c:v>0.0019750903821412666</c:v>
                </c:pt>
                <c:pt idx="2">
                  <c:v>0.004460004651976185</c:v>
                </c:pt>
                <c:pt idx="3">
                  <c:v>0.021676188324313603</c:v>
                </c:pt>
                <c:pt idx="4">
                  <c:v>0.016873405852113957</c:v>
                </c:pt>
                <c:pt idx="5">
                  <c:v>0.01632259427519659</c:v>
                </c:pt>
                <c:pt idx="6">
                  <c:v>0.009162292884169847</c:v>
                </c:pt>
                <c:pt idx="7">
                  <c:v>0.026675557469277255</c:v>
                </c:pt>
                <c:pt idx="8">
                  <c:v>0.02190555269301163</c:v>
                </c:pt>
                <c:pt idx="9">
                  <c:v>0.002519760364659387</c:v>
                </c:pt>
                <c:pt idx="10">
                  <c:v>0.00117756691681175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2645204450961205</c:v>
                </c:pt>
                <c:pt idx="2">
                  <c:v>0.0008922086978174165</c:v>
                </c:pt>
                <c:pt idx="3">
                  <c:v>0.008890002281996521</c:v>
                </c:pt>
                <c:pt idx="4">
                  <c:v>0.0034852812814458577</c:v>
                </c:pt>
                <c:pt idx="5">
                  <c:v>0.011752993633068051</c:v>
                </c:pt>
                <c:pt idx="6">
                  <c:v>0.014915159471699387</c:v>
                </c:pt>
                <c:pt idx="7">
                  <c:v>0.037470503452530085</c:v>
                </c:pt>
                <c:pt idx="8">
                  <c:v>0.037147680845176674</c:v>
                </c:pt>
                <c:pt idx="9">
                  <c:v>0.023311076778251286</c:v>
                </c:pt>
                <c:pt idx="10">
                  <c:v>0.00700292949415178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06502139779190402</c:v>
                </c:pt>
                <c:pt idx="6">
                  <c:v>0.0024618690465788855</c:v>
                </c:pt>
                <c:pt idx="7">
                  <c:v>0.006228801064574831</c:v>
                </c:pt>
                <c:pt idx="8">
                  <c:v>0.0053013553829690235</c:v>
                </c:pt>
                <c:pt idx="9">
                  <c:v>0.001333507762564556</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21135159571873</c:v>
                </c:pt>
                <c:pt idx="1">
                  <c:v>0.0036899242420086594</c:v>
                </c:pt>
                <c:pt idx="2">
                  <c:v>0.008061650265363254</c:v>
                </c:pt>
                <c:pt idx="3">
                  <c:v>0.012221163332728317</c:v>
                </c:pt>
                <c:pt idx="4">
                  <c:v>0.009172075708646577</c:v>
                </c:pt>
                <c:pt idx="5">
                  <c:v>0.02727538387217576</c:v>
                </c:pt>
                <c:pt idx="6">
                  <c:v>0.036457590892748255</c:v>
                </c:pt>
                <c:pt idx="7">
                  <c:v>0.041942519658601025</c:v>
                </c:pt>
                <c:pt idx="8">
                  <c:v>0.04373578704538852</c:v>
                </c:pt>
                <c:pt idx="9">
                  <c:v>0.051824970469332564</c:v>
                </c:pt>
                <c:pt idx="10">
                  <c:v>0.015973154116971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9457498854960345</c:v>
                </c:pt>
                <c:pt idx="8">
                  <c:v>0.003290141560372032</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146139338108645</c:v>
                </c:pt>
                <c:pt idx="1">
                  <c:v>0.006041321442146539</c:v>
                </c:pt>
                <c:pt idx="2">
                  <c:v>0.002479713459043754</c:v>
                </c:pt>
                <c:pt idx="3">
                  <c:v>0.00542251771131146</c:v>
                </c:pt>
                <c:pt idx="4">
                  <c:v>0.014647987527382434</c:v>
                </c:pt>
                <c:pt idx="5">
                  <c:v>0.03867168271285739</c:v>
                </c:pt>
                <c:pt idx="6">
                  <c:v>0.034957308697417255</c:v>
                </c:pt>
                <c:pt idx="7">
                  <c:v>0.045440172907016844</c:v>
                </c:pt>
                <c:pt idx="8">
                  <c:v>0.06470167447026794</c:v>
                </c:pt>
                <c:pt idx="9">
                  <c:v>0.041080999057069814</c:v>
                </c:pt>
                <c:pt idx="10">
                  <c:v>0.001675934445244154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2</c:v>
                </c:pt>
                <c:pt idx="2">
                  <c:v>0.025308299426034547</c:v>
                </c:pt>
                <c:pt idx="3">
                  <c:v>0.05376235000431038</c:v>
                </c:pt>
                <c:pt idx="4">
                  <c:v>0.06047976889902426</c:v>
                </c:pt>
                <c:pt idx="5">
                  <c:v>0.11906086687087766</c:v>
                </c:pt>
                <c:pt idx="6">
                  <c:v>0.13389055283916435</c:v>
                </c:pt>
                <c:pt idx="7">
                  <c:v>0.18936383046379757</c:v>
                </c:pt>
                <c:pt idx="8">
                  <c:v>0.2079537278099954</c:v>
                </c:pt>
                <c:pt idx="9">
                  <c:v>0.1370361635363881</c:v>
                </c:pt>
                <c:pt idx="10">
                  <c:v>0.02671768734930402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828116131706631</c:v>
                </c:pt>
                <c:pt idx="2">
                  <c:v>0.0030098900738080516</c:v>
                </c:pt>
                <c:pt idx="3">
                  <c:v>0.0010402111849842667</c:v>
                </c:pt>
                <c:pt idx="4">
                  <c:v>0.004818518734354006</c:v>
                </c:pt>
                <c:pt idx="5">
                  <c:v>0.009944492177066288</c:v>
                </c:pt>
                <c:pt idx="6">
                  <c:v>0.007487798765379195</c:v>
                </c:pt>
                <c:pt idx="7">
                  <c:v>0.0019435688310811372</c:v>
                </c:pt>
                <c:pt idx="8">
                  <c:v>0.003394697070460796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07063617840163</c:v>
                </c:pt>
                <c:pt idx="1">
                  <c:v>0.0028111852108087237</c:v>
                </c:pt>
                <c:pt idx="2">
                  <c:v>0.011733795016715528</c:v>
                </c:pt>
                <c:pt idx="3">
                  <c:v>0.007574852123027206</c:v>
                </c:pt>
                <c:pt idx="4">
                  <c:v>0.019009215663064603</c:v>
                </c:pt>
                <c:pt idx="5">
                  <c:v>0.011686734111054543</c:v>
                </c:pt>
                <c:pt idx="6">
                  <c:v>0.044282416000018386</c:v>
                </c:pt>
                <c:pt idx="7">
                  <c:v>0.13481352044305056</c:v>
                </c:pt>
                <c:pt idx="8">
                  <c:v>0.11237839726299749</c:v>
                </c:pt>
                <c:pt idx="9">
                  <c:v>0.48396240184152367</c:v>
                </c:pt>
                <c:pt idx="10">
                  <c:v>0.165340418709899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07063617840163</c:v>
                </c:pt>
                <c:pt idx="1">
                  <c:v>0.0028111852108087237</c:v>
                </c:pt>
                <c:pt idx="2">
                  <c:v>0.011733795016715528</c:v>
                </c:pt>
                <c:pt idx="3">
                  <c:v>0.007574852123027206</c:v>
                </c:pt>
                <c:pt idx="4">
                  <c:v>0.019009215663064603</c:v>
                </c:pt>
                <c:pt idx="5">
                  <c:v>0.011686734111054543</c:v>
                </c:pt>
                <c:pt idx="6">
                  <c:v>0.044282416000018386</c:v>
                </c:pt>
                <c:pt idx="7">
                  <c:v>0.13481352044305056</c:v>
                </c:pt>
                <c:pt idx="8">
                  <c:v>0.11237839726299749</c:v>
                </c:pt>
                <c:pt idx="9">
                  <c:v>0.48396240184152367</c:v>
                </c:pt>
                <c:pt idx="10">
                  <c:v>0.165340418709899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100304976349817</c:v>
                </c:pt>
                <c:pt idx="3">
                  <c:v>0.26868346656608316</c:v>
                </c:pt>
                <c:pt idx="4">
                  <c:v>0.24448648886529212</c:v>
                </c:pt>
                <c:pt idx="5">
                  <c:v>0.09711309197384473</c:v>
                </c:pt>
                <c:pt idx="6">
                  <c:v>0.02982395736803779</c:v>
                </c:pt>
                <c:pt idx="7">
                  <c:v>0.16451004332234603</c:v>
                </c:pt>
                <c:pt idx="8">
                  <c:v>0.1923090863418820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100304976349817</c:v>
                </c:pt>
                <c:pt idx="3">
                  <c:v>0.26868346656608316</c:v>
                </c:pt>
                <c:pt idx="4">
                  <c:v>0.24448648886529212</c:v>
                </c:pt>
                <c:pt idx="5">
                  <c:v>0.09711309197384473</c:v>
                </c:pt>
                <c:pt idx="6">
                  <c:v>0.02982395736803779</c:v>
                </c:pt>
                <c:pt idx="7">
                  <c:v>0.16451004332234603</c:v>
                </c:pt>
                <c:pt idx="8">
                  <c:v>0.1923090863418820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82354452281678</c:v>
                </c:pt>
                <c:pt idx="1">
                  <c:v>0.01063195709550814</c:v>
                </c:pt>
                <c:pt idx="2">
                  <c:v>0.017221234411258925</c:v>
                </c:pt>
                <c:pt idx="3">
                  <c:v>0.06680775222126652</c:v>
                </c:pt>
                <c:pt idx="4">
                  <c:v>0.04925062777639061</c:v>
                </c:pt>
                <c:pt idx="5">
                  <c:v>0.11852846252856482</c:v>
                </c:pt>
                <c:pt idx="6">
                  <c:v>0.13127207598354879</c:v>
                </c:pt>
                <c:pt idx="7">
                  <c:v>0.18044499841671938</c:v>
                </c:pt>
                <c:pt idx="8">
                  <c:v>0.23112965900723814</c:v>
                </c:pt>
                <c:pt idx="9">
                  <c:v>0.10923037007143092</c:v>
                </c:pt>
                <c:pt idx="10">
                  <c:v>0.068900508035792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914325723460334</c:v>
                </c:pt>
                <c:pt idx="1">
                  <c:v>0.002305581989624116</c:v>
                </c:pt>
                <c:pt idx="2">
                  <c:v>0.0063943638096728705</c:v>
                </c:pt>
                <c:pt idx="3">
                  <c:v>0.02734180688508088</c:v>
                </c:pt>
                <c:pt idx="4">
                  <c:v>0.00887556430819835</c:v>
                </c:pt>
                <c:pt idx="5">
                  <c:v>0.01622312541348651</c:v>
                </c:pt>
                <c:pt idx="6">
                  <c:v>0.006141217984662486</c:v>
                </c:pt>
                <c:pt idx="7">
                  <c:v>0.02968498052094548</c:v>
                </c:pt>
                <c:pt idx="8">
                  <c:v>0.020126327933237556</c:v>
                </c:pt>
                <c:pt idx="9">
                  <c:v>0.01191409613132025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7327421352016318</c:v>
                </c:pt>
                <c:pt idx="2">
                  <c:v>0.0009762186445758247</c:v>
                </c:pt>
                <c:pt idx="3">
                  <c:v>0.012550534326294788</c:v>
                </c:pt>
                <c:pt idx="4">
                  <c:v>0.004216629720834134</c:v>
                </c:pt>
                <c:pt idx="5">
                  <c:v>0.015716072784834445</c:v>
                </c:pt>
                <c:pt idx="6">
                  <c:v>0.021370599555323534</c:v>
                </c:pt>
                <c:pt idx="7">
                  <c:v>0.02226059722653693</c:v>
                </c:pt>
                <c:pt idx="8">
                  <c:v>0.054572257812236735</c:v>
                </c:pt>
                <c:pt idx="9">
                  <c:v>0.017970548776057242</c:v>
                </c:pt>
                <c:pt idx="10">
                  <c:v>0.01539225368748820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1450304334989998</c:v>
                </c:pt>
                <c:pt idx="6">
                  <c:v>0.002862408904072732</c:v>
                </c:pt>
                <c:pt idx="7">
                  <c:v>0.002704964868766975</c:v>
                </c:pt>
                <c:pt idx="8">
                  <c:v>0.0136754579694633</c:v>
                </c:pt>
                <c:pt idx="9">
                  <c:v>0.001890518761803361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834385939280542</c:v>
                </c:pt>
                <c:pt idx="1">
                  <c:v>0.0008361409794108802</c:v>
                </c:pt>
                <c:pt idx="2">
                  <c:v>0.00440872795504902</c:v>
                </c:pt>
                <c:pt idx="3">
                  <c:v>0.019751736201982145</c:v>
                </c:pt>
                <c:pt idx="4">
                  <c:v>0.005156569232772076</c:v>
                </c:pt>
                <c:pt idx="5">
                  <c:v>0.01708061393794184</c:v>
                </c:pt>
                <c:pt idx="6">
                  <c:v>0.025008660364438287</c:v>
                </c:pt>
                <c:pt idx="7">
                  <c:v>0.04484127498108929</c:v>
                </c:pt>
                <c:pt idx="8">
                  <c:v>0.03170082687815901</c:v>
                </c:pt>
                <c:pt idx="9">
                  <c:v>0.028595559323509056</c:v>
                </c:pt>
                <c:pt idx="10">
                  <c:v>0.0341396307438110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2749445466057287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930483926575316</c:v>
                </c:pt>
                <c:pt idx="1">
                  <c:v>0.00201627571671651</c:v>
                </c:pt>
                <c:pt idx="2">
                  <c:v>0.0020831947114470523</c:v>
                </c:pt>
                <c:pt idx="3">
                  <c:v>0.0036149679002370557</c:v>
                </c:pt>
                <c:pt idx="4">
                  <c:v>0.018623932708488777</c:v>
                </c:pt>
                <c:pt idx="5">
                  <c:v>0.045053120261713535</c:v>
                </c:pt>
                <c:pt idx="6">
                  <c:v>0.0371859433989016</c:v>
                </c:pt>
                <c:pt idx="7">
                  <c:v>0.04868551387446174</c:v>
                </c:pt>
                <c:pt idx="8">
                  <c:v>0.05827003449954222</c:v>
                </c:pt>
                <c:pt idx="9">
                  <c:v>0.036009730494129276</c:v>
                </c:pt>
                <c:pt idx="10">
                  <c:v>0.01931986512044721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89049210835225</c:v>
                </c:pt>
                <c:pt idx="1">
                  <c:v>0.0015711852495085654</c:v>
                </c:pt>
                <c:pt idx="2">
                  <c:v>0.0028092608299865123</c:v>
                </c:pt>
                <c:pt idx="3">
                  <c:v>0.0021388316743594826</c:v>
                </c:pt>
                <c:pt idx="4">
                  <c:v>0.008995411461172121</c:v>
                </c:pt>
                <c:pt idx="5">
                  <c:v>0.01581956587869069</c:v>
                </c:pt>
                <c:pt idx="6">
                  <c:v>0.03491982583091104</c:v>
                </c:pt>
                <c:pt idx="7">
                  <c:v>0.02750118303815004</c:v>
                </c:pt>
                <c:pt idx="8">
                  <c:v>0.06289412464333949</c:v>
                </c:pt>
                <c:pt idx="9">
                  <c:v>0.01369170730675083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82354452281678</c:v>
                </c:pt>
                <c:pt idx="1">
                  <c:v>0.01063195709550814</c:v>
                </c:pt>
                <c:pt idx="2">
                  <c:v>0.017221234411258925</c:v>
                </c:pt>
                <c:pt idx="3">
                  <c:v>0.06680775222126652</c:v>
                </c:pt>
                <c:pt idx="4">
                  <c:v>0.04925062777639061</c:v>
                </c:pt>
                <c:pt idx="5">
                  <c:v>0.11852846252856482</c:v>
                </c:pt>
                <c:pt idx="6">
                  <c:v>0.13127207598354879</c:v>
                </c:pt>
                <c:pt idx="7">
                  <c:v>0.18044499841671938</c:v>
                </c:pt>
                <c:pt idx="8">
                  <c:v>0.23112965900723814</c:v>
                </c:pt>
                <c:pt idx="9">
                  <c:v>0.10923037007143092</c:v>
                </c:pt>
                <c:pt idx="10">
                  <c:v>0.068900508035792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014030030377552</c:v>
                </c:pt>
                <c:pt idx="1">
                  <c:v>0.003170031025046437</c:v>
                </c:pt>
                <c:pt idx="2">
                  <c:v>0.0005494684605276448</c:v>
                </c:pt>
                <c:pt idx="3">
                  <c:v>0.0014098752333121648</c:v>
                </c:pt>
                <c:pt idx="4">
                  <c:v>0.003382520344925154</c:v>
                </c:pt>
                <c:pt idx="5">
                  <c:v>0.008635964251897799</c:v>
                </c:pt>
                <c:pt idx="6">
                  <c:v>0.006645828849311837</c:v>
                </c:pt>
                <c:pt idx="7">
                  <c:v>0.0074714487755359014</c:v>
                </c:pt>
                <c:pt idx="8">
                  <c:v>0.0035660872407231262</c:v>
                </c:pt>
                <c:pt idx="9">
                  <c:v>0.001048728039664258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89049210835225</c:v>
                </c:pt>
                <c:pt idx="1">
                  <c:v>0.0015711852495085654</c:v>
                </c:pt>
                <c:pt idx="2">
                  <c:v>0.0028092608299865123</c:v>
                </c:pt>
                <c:pt idx="3">
                  <c:v>0.0021388316743594826</c:v>
                </c:pt>
                <c:pt idx="4">
                  <c:v>0.008995411461172121</c:v>
                </c:pt>
                <c:pt idx="5">
                  <c:v>0.01581956587869069</c:v>
                </c:pt>
                <c:pt idx="6">
                  <c:v>0.03491982583091104</c:v>
                </c:pt>
                <c:pt idx="7">
                  <c:v>0.02750118303815004</c:v>
                </c:pt>
                <c:pt idx="8">
                  <c:v>0.06289412464333949</c:v>
                </c:pt>
                <c:pt idx="9">
                  <c:v>0.01369170730675083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68180107995699</c:v>
                </c:pt>
                <c:pt idx="2">
                  <c:v>0.02922895821877096</c:v>
                </c:pt>
                <c:pt idx="3">
                  <c:v>0.0031519021903612604</c:v>
                </c:pt>
                <c:pt idx="4">
                  <c:v>0.015768353612406562</c:v>
                </c:pt>
                <c:pt idx="5">
                  <c:v>0.014096812643019338</c:v>
                </c:pt>
                <c:pt idx="6">
                  <c:v>0.034586590784087844</c:v>
                </c:pt>
                <c:pt idx="7">
                  <c:v>0.164633817437624</c:v>
                </c:pt>
                <c:pt idx="8">
                  <c:v>0.2164237616324487</c:v>
                </c:pt>
                <c:pt idx="9">
                  <c:v>0.2142809852960246</c:v>
                </c:pt>
                <c:pt idx="10">
                  <c:v>0.303569672264184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89049210835225</c:v>
                </c:pt>
                <c:pt idx="1">
                  <c:v>0.0015711852495085654</c:v>
                </c:pt>
                <c:pt idx="2">
                  <c:v>0.0028092608299865123</c:v>
                </c:pt>
                <c:pt idx="3">
                  <c:v>0.0021388316743594826</c:v>
                </c:pt>
                <c:pt idx="4">
                  <c:v>0.008995411461172121</c:v>
                </c:pt>
                <c:pt idx="5">
                  <c:v>0.01581956587869069</c:v>
                </c:pt>
                <c:pt idx="6">
                  <c:v>0.03491982583091104</c:v>
                </c:pt>
                <c:pt idx="7">
                  <c:v>0.02750118303815004</c:v>
                </c:pt>
                <c:pt idx="8">
                  <c:v>0.06289412464333949</c:v>
                </c:pt>
                <c:pt idx="9">
                  <c:v>0.01369170730675083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89049210835225</c:v>
                </c:pt>
                <c:pt idx="1">
                  <c:v>0.0015711852495085654</c:v>
                </c:pt>
                <c:pt idx="2">
                  <c:v>0.0028092608299865123</c:v>
                </c:pt>
                <c:pt idx="3">
                  <c:v>0.0021388316743594826</c:v>
                </c:pt>
                <c:pt idx="4">
                  <c:v>0.008995411461172121</c:v>
                </c:pt>
                <c:pt idx="5">
                  <c:v>0.01581956587869069</c:v>
                </c:pt>
                <c:pt idx="6">
                  <c:v>0.03491982583091104</c:v>
                </c:pt>
                <c:pt idx="7">
                  <c:v>0.02750118303815004</c:v>
                </c:pt>
                <c:pt idx="8">
                  <c:v>0.06289412464333949</c:v>
                </c:pt>
                <c:pt idx="9">
                  <c:v>0.01369170730675083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8030213217652804</c:v>
                </c:pt>
                <c:pt idx="1">
                  <c:v>0.001136218009126783</c:v>
                </c:pt>
                <c:pt idx="2">
                  <c:v>0.03902508511291027</c:v>
                </c:pt>
                <c:pt idx="3">
                  <c:v>0.010743820448448566</c:v>
                </c:pt>
                <c:pt idx="4">
                  <c:v>0.008513844935433352</c:v>
                </c:pt>
                <c:pt idx="5">
                  <c:v>0.010761112831630315</c:v>
                </c:pt>
                <c:pt idx="6">
                  <c:v>0.07763991842218361</c:v>
                </c:pt>
                <c:pt idx="7">
                  <c:v>0.17609201899160237</c:v>
                </c:pt>
                <c:pt idx="8">
                  <c:v>0.21875489647669405</c:v>
                </c:pt>
                <c:pt idx="9">
                  <c:v>0.2442479212971707</c:v>
                </c:pt>
                <c:pt idx="10">
                  <c:v>0.2072821421530346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8030213217652804</c:v>
                </c:pt>
                <c:pt idx="1">
                  <c:v>0.001136218009126783</c:v>
                </c:pt>
                <c:pt idx="2">
                  <c:v>0.03902508511291027</c:v>
                </c:pt>
                <c:pt idx="3">
                  <c:v>0.010743820448448566</c:v>
                </c:pt>
                <c:pt idx="4">
                  <c:v>0.008513844935433352</c:v>
                </c:pt>
                <c:pt idx="5">
                  <c:v>0.010761112831630315</c:v>
                </c:pt>
                <c:pt idx="6">
                  <c:v>0.07763991842218361</c:v>
                </c:pt>
                <c:pt idx="7">
                  <c:v>0.17609201899160237</c:v>
                </c:pt>
                <c:pt idx="8">
                  <c:v>0.21875489647669405</c:v>
                </c:pt>
                <c:pt idx="9">
                  <c:v>0.2442479212971707</c:v>
                </c:pt>
                <c:pt idx="10">
                  <c:v>0.2072821421530346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4</c:v>
                </c:pt>
                <c:pt idx="5">
                  <c:v>0.07999615168178827</c:v>
                </c:pt>
                <c:pt idx="6">
                  <c:v>0.09644564249232464</c:v>
                </c:pt>
                <c:pt idx="7">
                  <c:v>0.11128880451125543</c:v>
                </c:pt>
                <c:pt idx="8">
                  <c:v>0.1775377473943334</c:v>
                </c:pt>
                <c:pt idx="9">
                  <c:v>0.0092913757652238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4</c:v>
                </c:pt>
                <c:pt idx="5">
                  <c:v>0.07999615168178827</c:v>
                </c:pt>
                <c:pt idx="6">
                  <c:v>0.09644564249232464</c:v>
                </c:pt>
                <c:pt idx="7">
                  <c:v>0.11128880451125543</c:v>
                </c:pt>
                <c:pt idx="8">
                  <c:v>0.1775377473943334</c:v>
                </c:pt>
                <c:pt idx="9">
                  <c:v>0.0092913757652238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2</c:v>
                </c:pt>
                <c:pt idx="2">
                  <c:v>0.025308299426034547</c:v>
                </c:pt>
                <c:pt idx="3">
                  <c:v>0.05376235000431038</c:v>
                </c:pt>
                <c:pt idx="4">
                  <c:v>0.06047976889902426</c:v>
                </c:pt>
                <c:pt idx="5">
                  <c:v>0.11906086687087766</c:v>
                </c:pt>
                <c:pt idx="6">
                  <c:v>0.13389055283916435</c:v>
                </c:pt>
                <c:pt idx="7">
                  <c:v>0.18936383046379757</c:v>
                </c:pt>
                <c:pt idx="8">
                  <c:v>0.2079537278099954</c:v>
                </c:pt>
                <c:pt idx="9">
                  <c:v>0.1370361635363881</c:v>
                </c:pt>
                <c:pt idx="10">
                  <c:v>0.02671768734930402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6156924401888873</c:v>
                </c:pt>
                <c:pt idx="1">
                  <c:v>0.0019750903821412666</c:v>
                </c:pt>
                <c:pt idx="2">
                  <c:v>0.004460004651976185</c:v>
                </c:pt>
                <c:pt idx="3">
                  <c:v>0.021676188324313603</c:v>
                </c:pt>
                <c:pt idx="4">
                  <c:v>0.016873405852113957</c:v>
                </c:pt>
                <c:pt idx="5">
                  <c:v>0.01632259427519659</c:v>
                </c:pt>
                <c:pt idx="6">
                  <c:v>0.009162292884169847</c:v>
                </c:pt>
                <c:pt idx="7">
                  <c:v>0.026675557469277255</c:v>
                </c:pt>
                <c:pt idx="8">
                  <c:v>0.02190555269301163</c:v>
                </c:pt>
                <c:pt idx="9">
                  <c:v>0.002519760364659387</c:v>
                </c:pt>
                <c:pt idx="10">
                  <c:v>0.00117756691681175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 Id="rId14" Type="http://schemas.openxmlformats.org/officeDocument/2006/relationships/chart" Target="../charts/chart393.xml"/><Relationship Id="rId15" Type="http://schemas.openxmlformats.org/officeDocument/2006/relationships/chart" Target="../charts/chart394.xml"/><Relationship Id="rId16" Type="http://schemas.openxmlformats.org/officeDocument/2006/relationships/chart" Target="../charts/chart395.xml"/><Relationship Id="rId17" Type="http://schemas.openxmlformats.org/officeDocument/2006/relationships/chart" Target="../charts/chart39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 Id="rId17" Type="http://schemas.openxmlformats.org/officeDocument/2006/relationships/chart" Target="../charts/chart40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3.xml"/><Relationship Id="rId7" Type="http://schemas.openxmlformats.org/officeDocument/2006/relationships/chart" Target="../charts/chart434.xml"/><Relationship Id="rId8" Type="http://schemas.openxmlformats.org/officeDocument/2006/relationships/chart" Target="../charts/chart435.xml"/><Relationship Id="rId9" Type="http://schemas.openxmlformats.org/officeDocument/2006/relationships/chart" Target="../charts/chart436.xml"/><Relationship Id="rId10" Type="http://schemas.openxmlformats.org/officeDocument/2006/relationships/chart" Target="../charts/chart437.xml"/><Relationship Id="rId11" Type="http://schemas.openxmlformats.org/officeDocument/2006/relationships/chart" Target="../charts/chart438.xml"/><Relationship Id="rId12" Type="http://schemas.openxmlformats.org/officeDocument/2006/relationships/chart" Target="../charts/chart439.xml"/><Relationship Id="rId13" Type="http://schemas.openxmlformats.org/officeDocument/2006/relationships/chart" Target="../charts/chart440.xml"/><Relationship Id="rId14" Type="http://schemas.openxmlformats.org/officeDocument/2006/relationships/chart" Target="../charts/chart441.xml"/><Relationship Id="rId15" Type="http://schemas.openxmlformats.org/officeDocument/2006/relationships/chart" Target="../charts/chart442.xml"/><Relationship Id="rId16" Type="http://schemas.openxmlformats.org/officeDocument/2006/relationships/chart" Target="../charts/chart443.xml"/><Relationship Id="rId17" Type="http://schemas.openxmlformats.org/officeDocument/2006/relationships/chart" Target="../charts/chart44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5.xml"/><Relationship Id="rId7" Type="http://schemas.openxmlformats.org/officeDocument/2006/relationships/chart" Target="../charts/chart446.xml"/><Relationship Id="rId8" Type="http://schemas.openxmlformats.org/officeDocument/2006/relationships/chart" Target="../charts/chart447.xml"/><Relationship Id="rId9" Type="http://schemas.openxmlformats.org/officeDocument/2006/relationships/chart" Target="../charts/chart448.xml"/><Relationship Id="rId10" Type="http://schemas.openxmlformats.org/officeDocument/2006/relationships/chart" Target="../charts/chart449.xml"/><Relationship Id="rId11" Type="http://schemas.openxmlformats.org/officeDocument/2006/relationships/chart" Target="../charts/chart450.xml"/><Relationship Id="rId12" Type="http://schemas.openxmlformats.org/officeDocument/2006/relationships/chart" Target="../charts/chart451.xml"/><Relationship Id="rId13" Type="http://schemas.openxmlformats.org/officeDocument/2006/relationships/chart" Target="../charts/chart452.xml"/><Relationship Id="rId14" Type="http://schemas.openxmlformats.org/officeDocument/2006/relationships/chart" Target="../charts/chart453.xml"/><Relationship Id="rId15" Type="http://schemas.openxmlformats.org/officeDocument/2006/relationships/chart" Target="../charts/chart454.xml"/><Relationship Id="rId16" Type="http://schemas.openxmlformats.org/officeDocument/2006/relationships/chart" Target="../charts/chart455.xml"/><Relationship Id="rId17" Type="http://schemas.openxmlformats.org/officeDocument/2006/relationships/chart" Target="../charts/chart45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7.xml"/><Relationship Id="rId7" Type="http://schemas.openxmlformats.org/officeDocument/2006/relationships/chart" Target="../charts/chart458.xml"/><Relationship Id="rId8" Type="http://schemas.openxmlformats.org/officeDocument/2006/relationships/chart" Target="../charts/chart459.xml"/><Relationship Id="rId9" Type="http://schemas.openxmlformats.org/officeDocument/2006/relationships/chart" Target="../charts/chart460.xml"/><Relationship Id="rId10" Type="http://schemas.openxmlformats.org/officeDocument/2006/relationships/chart" Target="../charts/chart461.xml"/><Relationship Id="rId11" Type="http://schemas.openxmlformats.org/officeDocument/2006/relationships/chart" Target="../charts/chart462.xml"/><Relationship Id="rId12" Type="http://schemas.openxmlformats.org/officeDocument/2006/relationships/chart" Target="../charts/chart463.xml"/><Relationship Id="rId13" Type="http://schemas.openxmlformats.org/officeDocument/2006/relationships/chart" Target="../charts/chart464.xml"/><Relationship Id="rId14" Type="http://schemas.openxmlformats.org/officeDocument/2006/relationships/chart" Target="../charts/chart465.xml"/><Relationship Id="rId15" Type="http://schemas.openxmlformats.org/officeDocument/2006/relationships/chart" Target="../charts/chart466.xml"/><Relationship Id="rId16" Type="http://schemas.openxmlformats.org/officeDocument/2006/relationships/chart" Target="../charts/chart467.xml"/><Relationship Id="rId17" Type="http://schemas.openxmlformats.org/officeDocument/2006/relationships/chart" Target="../charts/chart46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9.xml"/><Relationship Id="rId7" Type="http://schemas.openxmlformats.org/officeDocument/2006/relationships/chart" Target="../charts/chart470.xml"/><Relationship Id="rId8" Type="http://schemas.openxmlformats.org/officeDocument/2006/relationships/chart" Target="../charts/chart471.xml"/><Relationship Id="rId9" Type="http://schemas.openxmlformats.org/officeDocument/2006/relationships/chart" Target="../charts/chart472.xml"/><Relationship Id="rId10" Type="http://schemas.openxmlformats.org/officeDocument/2006/relationships/chart" Target="../charts/chart473.xml"/><Relationship Id="rId11" Type="http://schemas.openxmlformats.org/officeDocument/2006/relationships/chart" Target="../charts/chart474.xml"/><Relationship Id="rId12" Type="http://schemas.openxmlformats.org/officeDocument/2006/relationships/chart" Target="../charts/chart475.xml"/><Relationship Id="rId13" Type="http://schemas.openxmlformats.org/officeDocument/2006/relationships/chart" Target="../charts/chart476.xml"/><Relationship Id="rId14" Type="http://schemas.openxmlformats.org/officeDocument/2006/relationships/chart" Target="../charts/chart477.xml"/><Relationship Id="rId15" Type="http://schemas.openxmlformats.org/officeDocument/2006/relationships/chart" Target="../charts/chart478.xml"/><Relationship Id="rId16" Type="http://schemas.openxmlformats.org/officeDocument/2006/relationships/chart" Target="../charts/chart479.xml"/><Relationship Id="rId17" Type="http://schemas.openxmlformats.org/officeDocument/2006/relationships/chart" Target="../charts/chart48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1.xml"/><Relationship Id="rId7" Type="http://schemas.openxmlformats.org/officeDocument/2006/relationships/chart" Target="../charts/chart482.xml"/><Relationship Id="rId8" Type="http://schemas.openxmlformats.org/officeDocument/2006/relationships/chart" Target="../charts/chart483.xml"/><Relationship Id="rId9" Type="http://schemas.openxmlformats.org/officeDocument/2006/relationships/chart" Target="../charts/chart484.xml"/><Relationship Id="rId10" Type="http://schemas.openxmlformats.org/officeDocument/2006/relationships/chart" Target="../charts/chart485.xml"/><Relationship Id="rId11" Type="http://schemas.openxmlformats.org/officeDocument/2006/relationships/chart" Target="../charts/chart486.xml"/><Relationship Id="rId12" Type="http://schemas.openxmlformats.org/officeDocument/2006/relationships/chart" Target="../charts/chart487.xml"/><Relationship Id="rId13" Type="http://schemas.openxmlformats.org/officeDocument/2006/relationships/chart" Target="../charts/chart488.xml"/><Relationship Id="rId14" Type="http://schemas.openxmlformats.org/officeDocument/2006/relationships/chart" Target="../charts/chart489.xml"/><Relationship Id="rId15" Type="http://schemas.openxmlformats.org/officeDocument/2006/relationships/chart" Target="../charts/chart490.xml"/><Relationship Id="rId16" Type="http://schemas.openxmlformats.org/officeDocument/2006/relationships/chart" Target="../charts/chart491.xml"/><Relationship Id="rId17" Type="http://schemas.openxmlformats.org/officeDocument/2006/relationships/chart" Target="../charts/chart49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3.xml"/><Relationship Id="rId7" Type="http://schemas.openxmlformats.org/officeDocument/2006/relationships/chart" Target="../charts/chart494.xml"/><Relationship Id="rId8" Type="http://schemas.openxmlformats.org/officeDocument/2006/relationships/chart" Target="../charts/chart495.xml"/><Relationship Id="rId9" Type="http://schemas.openxmlformats.org/officeDocument/2006/relationships/chart" Target="../charts/chart496.xml"/><Relationship Id="rId10" Type="http://schemas.openxmlformats.org/officeDocument/2006/relationships/chart" Target="../charts/chart497.xml"/><Relationship Id="rId11" Type="http://schemas.openxmlformats.org/officeDocument/2006/relationships/chart" Target="../charts/chart498.xml"/><Relationship Id="rId12" Type="http://schemas.openxmlformats.org/officeDocument/2006/relationships/chart" Target="../charts/chart499.xml"/><Relationship Id="rId13" Type="http://schemas.openxmlformats.org/officeDocument/2006/relationships/chart" Target="../charts/chart500.xml"/><Relationship Id="rId14" Type="http://schemas.openxmlformats.org/officeDocument/2006/relationships/chart" Target="../charts/chart501.xml"/><Relationship Id="rId15" Type="http://schemas.openxmlformats.org/officeDocument/2006/relationships/chart" Target="../charts/chart502.xml"/><Relationship Id="rId16" Type="http://schemas.openxmlformats.org/officeDocument/2006/relationships/chart" Target="../charts/chart503.xml"/><Relationship Id="rId17" Type="http://schemas.openxmlformats.org/officeDocument/2006/relationships/chart" Target="../charts/chart504.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5.xml"/><Relationship Id="rId7" Type="http://schemas.openxmlformats.org/officeDocument/2006/relationships/chart" Target="../charts/chart506.xml"/><Relationship Id="rId8" Type="http://schemas.openxmlformats.org/officeDocument/2006/relationships/chart" Target="../charts/chart507.xml"/><Relationship Id="rId9" Type="http://schemas.openxmlformats.org/officeDocument/2006/relationships/chart" Target="../charts/chart508.xml"/><Relationship Id="rId10" Type="http://schemas.openxmlformats.org/officeDocument/2006/relationships/chart" Target="../charts/chart509.xml"/><Relationship Id="rId11" Type="http://schemas.openxmlformats.org/officeDocument/2006/relationships/chart" Target="../charts/chart510.xml"/><Relationship Id="rId12" Type="http://schemas.openxmlformats.org/officeDocument/2006/relationships/chart" Target="../charts/chart511.xml"/><Relationship Id="rId13" Type="http://schemas.openxmlformats.org/officeDocument/2006/relationships/chart" Target="../charts/chart512.xml"/><Relationship Id="rId14" Type="http://schemas.openxmlformats.org/officeDocument/2006/relationships/chart" Target="../charts/chart513.xml"/><Relationship Id="rId15" Type="http://schemas.openxmlformats.org/officeDocument/2006/relationships/chart" Target="../charts/chart514.xml"/><Relationship Id="rId16" Type="http://schemas.openxmlformats.org/officeDocument/2006/relationships/chart" Target="../charts/chart515.xml"/><Relationship Id="rId17" Type="http://schemas.openxmlformats.org/officeDocument/2006/relationships/chart" Target="../charts/chart516.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7.xml"/><Relationship Id="rId7" Type="http://schemas.openxmlformats.org/officeDocument/2006/relationships/chart" Target="../charts/chart518.xml"/><Relationship Id="rId8" Type="http://schemas.openxmlformats.org/officeDocument/2006/relationships/chart" Target="../charts/chart519.xml"/><Relationship Id="rId9" Type="http://schemas.openxmlformats.org/officeDocument/2006/relationships/chart" Target="../charts/chart520.xml"/><Relationship Id="rId10" Type="http://schemas.openxmlformats.org/officeDocument/2006/relationships/chart" Target="../charts/chart521.xml"/><Relationship Id="rId11" Type="http://schemas.openxmlformats.org/officeDocument/2006/relationships/chart" Target="../charts/chart522.xml"/><Relationship Id="rId12" Type="http://schemas.openxmlformats.org/officeDocument/2006/relationships/chart" Target="../charts/chart523.xml"/><Relationship Id="rId13" Type="http://schemas.openxmlformats.org/officeDocument/2006/relationships/chart" Target="../charts/chart524.xml"/><Relationship Id="rId14" Type="http://schemas.openxmlformats.org/officeDocument/2006/relationships/chart" Target="../charts/chart525.xml"/><Relationship Id="rId15" Type="http://schemas.openxmlformats.org/officeDocument/2006/relationships/chart" Target="../charts/chart526.xml"/><Relationship Id="rId16" Type="http://schemas.openxmlformats.org/officeDocument/2006/relationships/chart" Target="../charts/chart527.xml"/><Relationship Id="rId17" Type="http://schemas.openxmlformats.org/officeDocument/2006/relationships/chart" Target="../charts/chart528.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 Id="rId14" Type="http://schemas.openxmlformats.org/officeDocument/2006/relationships/chart" Target="../charts/chart537.xml"/><Relationship Id="rId15" Type="http://schemas.openxmlformats.org/officeDocument/2006/relationships/chart" Target="../charts/chart538.xml"/><Relationship Id="rId16" Type="http://schemas.openxmlformats.org/officeDocument/2006/relationships/chart" Target="../charts/chart539.xml"/><Relationship Id="rId17" Type="http://schemas.openxmlformats.org/officeDocument/2006/relationships/chart" Target="../charts/chart540.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1.xml"/><Relationship Id="rId7" Type="http://schemas.openxmlformats.org/officeDocument/2006/relationships/chart" Target="../charts/chart542.xml"/><Relationship Id="rId8" Type="http://schemas.openxmlformats.org/officeDocument/2006/relationships/chart" Target="../charts/chart543.xml"/><Relationship Id="rId9" Type="http://schemas.openxmlformats.org/officeDocument/2006/relationships/chart" Target="../charts/chart544.xml"/><Relationship Id="rId10" Type="http://schemas.openxmlformats.org/officeDocument/2006/relationships/chart" Target="../charts/chart545.xml"/><Relationship Id="rId11" Type="http://schemas.openxmlformats.org/officeDocument/2006/relationships/chart" Target="../charts/chart546.xml"/><Relationship Id="rId12" Type="http://schemas.openxmlformats.org/officeDocument/2006/relationships/chart" Target="../charts/chart547.xml"/><Relationship Id="rId13" Type="http://schemas.openxmlformats.org/officeDocument/2006/relationships/chart" Target="../charts/chart548.xml"/><Relationship Id="rId14" Type="http://schemas.openxmlformats.org/officeDocument/2006/relationships/chart" Target="../charts/chart549.xml"/><Relationship Id="rId15" Type="http://schemas.openxmlformats.org/officeDocument/2006/relationships/chart" Target="../charts/chart550.xml"/><Relationship Id="rId16" Type="http://schemas.openxmlformats.org/officeDocument/2006/relationships/chart" Target="../charts/chart551.xml"/><Relationship Id="rId17" Type="http://schemas.openxmlformats.org/officeDocument/2006/relationships/chart" Target="../charts/chart552.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3.xml"/><Relationship Id="rId7" Type="http://schemas.openxmlformats.org/officeDocument/2006/relationships/chart" Target="../charts/chart554.xml"/><Relationship Id="rId8" Type="http://schemas.openxmlformats.org/officeDocument/2006/relationships/chart" Target="../charts/chart555.xml"/><Relationship Id="rId9" Type="http://schemas.openxmlformats.org/officeDocument/2006/relationships/chart" Target="../charts/chart556.xml"/><Relationship Id="rId10" Type="http://schemas.openxmlformats.org/officeDocument/2006/relationships/chart" Target="../charts/chart557.xml"/><Relationship Id="rId11" Type="http://schemas.openxmlformats.org/officeDocument/2006/relationships/chart" Target="../charts/chart558.xml"/><Relationship Id="rId12" Type="http://schemas.openxmlformats.org/officeDocument/2006/relationships/chart" Target="../charts/chart559.xml"/><Relationship Id="rId13" Type="http://schemas.openxmlformats.org/officeDocument/2006/relationships/chart" Target="../charts/chart560.xml"/><Relationship Id="rId14" Type="http://schemas.openxmlformats.org/officeDocument/2006/relationships/chart" Target="../charts/chart561.xml"/><Relationship Id="rId15" Type="http://schemas.openxmlformats.org/officeDocument/2006/relationships/chart" Target="../charts/chart562.xml"/><Relationship Id="rId16" Type="http://schemas.openxmlformats.org/officeDocument/2006/relationships/chart" Target="../charts/chart563.xml"/><Relationship Id="rId17" Type="http://schemas.openxmlformats.org/officeDocument/2006/relationships/chart" Target="../charts/chart564.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5.xml"/><Relationship Id="rId7" Type="http://schemas.openxmlformats.org/officeDocument/2006/relationships/chart" Target="../charts/chart566.xml"/><Relationship Id="rId8" Type="http://schemas.openxmlformats.org/officeDocument/2006/relationships/chart" Target="../charts/chart567.xml"/><Relationship Id="rId9" Type="http://schemas.openxmlformats.org/officeDocument/2006/relationships/chart" Target="../charts/chart568.xml"/><Relationship Id="rId10" Type="http://schemas.openxmlformats.org/officeDocument/2006/relationships/chart" Target="../charts/chart569.xml"/><Relationship Id="rId11" Type="http://schemas.openxmlformats.org/officeDocument/2006/relationships/chart" Target="../charts/chart570.xml"/><Relationship Id="rId12" Type="http://schemas.openxmlformats.org/officeDocument/2006/relationships/chart" Target="../charts/chart571.xml"/><Relationship Id="rId13" Type="http://schemas.openxmlformats.org/officeDocument/2006/relationships/chart" Target="../charts/chart572.xml"/><Relationship Id="rId14" Type="http://schemas.openxmlformats.org/officeDocument/2006/relationships/chart" Target="../charts/chart573.xml"/><Relationship Id="rId15" Type="http://schemas.openxmlformats.org/officeDocument/2006/relationships/chart" Target="../charts/chart574.xml"/><Relationship Id="rId16" Type="http://schemas.openxmlformats.org/officeDocument/2006/relationships/chart" Target="../charts/chart575.xml"/><Relationship Id="rId17" Type="http://schemas.openxmlformats.org/officeDocument/2006/relationships/chart" Target="../charts/chart576.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7.xml"/><Relationship Id="rId7" Type="http://schemas.openxmlformats.org/officeDocument/2006/relationships/chart" Target="../charts/chart578.xml"/><Relationship Id="rId8" Type="http://schemas.openxmlformats.org/officeDocument/2006/relationships/chart" Target="../charts/chart579.xml"/><Relationship Id="rId9" Type="http://schemas.openxmlformats.org/officeDocument/2006/relationships/chart" Target="../charts/chart580.xml"/><Relationship Id="rId10" Type="http://schemas.openxmlformats.org/officeDocument/2006/relationships/chart" Target="../charts/chart581.xml"/><Relationship Id="rId11" Type="http://schemas.openxmlformats.org/officeDocument/2006/relationships/chart" Target="../charts/chart582.xml"/><Relationship Id="rId12" Type="http://schemas.openxmlformats.org/officeDocument/2006/relationships/chart" Target="../charts/chart583.xml"/><Relationship Id="rId13" Type="http://schemas.openxmlformats.org/officeDocument/2006/relationships/chart" Target="../charts/chart584.xml"/><Relationship Id="rId14" Type="http://schemas.openxmlformats.org/officeDocument/2006/relationships/chart" Target="../charts/chart585.xml"/><Relationship Id="rId15" Type="http://schemas.openxmlformats.org/officeDocument/2006/relationships/chart" Target="../charts/chart586.xml"/><Relationship Id="rId16" Type="http://schemas.openxmlformats.org/officeDocument/2006/relationships/chart" Target="../charts/chart587.xml"/><Relationship Id="rId17" Type="http://schemas.openxmlformats.org/officeDocument/2006/relationships/chart" Target="../charts/chart58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9.xml"/><Relationship Id="rId7" Type="http://schemas.openxmlformats.org/officeDocument/2006/relationships/chart" Target="../charts/chart590.xml"/><Relationship Id="rId8" Type="http://schemas.openxmlformats.org/officeDocument/2006/relationships/chart" Target="../charts/chart591.xml"/><Relationship Id="rId9" Type="http://schemas.openxmlformats.org/officeDocument/2006/relationships/chart" Target="../charts/chart592.xml"/><Relationship Id="rId10" Type="http://schemas.openxmlformats.org/officeDocument/2006/relationships/chart" Target="../charts/chart593.xml"/><Relationship Id="rId11" Type="http://schemas.openxmlformats.org/officeDocument/2006/relationships/chart" Target="../charts/chart594.xml"/><Relationship Id="rId12" Type="http://schemas.openxmlformats.org/officeDocument/2006/relationships/chart" Target="../charts/chart595.xml"/><Relationship Id="rId13" Type="http://schemas.openxmlformats.org/officeDocument/2006/relationships/chart" Target="../charts/chart596.xml"/><Relationship Id="rId14" Type="http://schemas.openxmlformats.org/officeDocument/2006/relationships/chart" Target="../charts/chart597.xml"/><Relationship Id="rId15" Type="http://schemas.openxmlformats.org/officeDocument/2006/relationships/chart" Target="../charts/chart598.xml"/><Relationship Id="rId16" Type="http://schemas.openxmlformats.org/officeDocument/2006/relationships/chart" Target="../charts/chart599.xml"/><Relationship Id="rId17" Type="http://schemas.openxmlformats.org/officeDocument/2006/relationships/chart" Target="../charts/chart60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1.xml"/><Relationship Id="rId7" Type="http://schemas.openxmlformats.org/officeDocument/2006/relationships/chart" Target="../charts/chart602.xml"/><Relationship Id="rId8" Type="http://schemas.openxmlformats.org/officeDocument/2006/relationships/chart" Target="../charts/chart603.xml"/><Relationship Id="rId9" Type="http://schemas.openxmlformats.org/officeDocument/2006/relationships/chart" Target="../charts/chart604.xml"/><Relationship Id="rId10" Type="http://schemas.openxmlformats.org/officeDocument/2006/relationships/chart" Target="../charts/chart605.xml"/><Relationship Id="rId11" Type="http://schemas.openxmlformats.org/officeDocument/2006/relationships/chart" Target="../charts/chart606.xml"/><Relationship Id="rId12" Type="http://schemas.openxmlformats.org/officeDocument/2006/relationships/chart" Target="../charts/chart607.xml"/><Relationship Id="rId13" Type="http://schemas.openxmlformats.org/officeDocument/2006/relationships/chart" Target="../charts/chart608.xml"/><Relationship Id="rId14" Type="http://schemas.openxmlformats.org/officeDocument/2006/relationships/chart" Target="../charts/chart609.xml"/><Relationship Id="rId15" Type="http://schemas.openxmlformats.org/officeDocument/2006/relationships/chart" Target="../charts/chart610.xml"/><Relationship Id="rId16" Type="http://schemas.openxmlformats.org/officeDocument/2006/relationships/chart" Target="../charts/chart611.xml"/><Relationship Id="rId17" Type="http://schemas.openxmlformats.org/officeDocument/2006/relationships/chart" Target="../charts/chart612.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3.xml"/><Relationship Id="rId7" Type="http://schemas.openxmlformats.org/officeDocument/2006/relationships/chart" Target="../charts/chart614.xml"/><Relationship Id="rId8" Type="http://schemas.openxmlformats.org/officeDocument/2006/relationships/chart" Target="../charts/chart615.xml"/><Relationship Id="rId9" Type="http://schemas.openxmlformats.org/officeDocument/2006/relationships/chart" Target="../charts/chart616.xml"/><Relationship Id="rId10" Type="http://schemas.openxmlformats.org/officeDocument/2006/relationships/chart" Target="../charts/chart617.xml"/><Relationship Id="rId11" Type="http://schemas.openxmlformats.org/officeDocument/2006/relationships/chart" Target="../charts/chart618.xml"/><Relationship Id="rId12" Type="http://schemas.openxmlformats.org/officeDocument/2006/relationships/chart" Target="../charts/chart619.xml"/><Relationship Id="rId13" Type="http://schemas.openxmlformats.org/officeDocument/2006/relationships/chart" Target="../charts/chart620.xml"/><Relationship Id="rId14" Type="http://schemas.openxmlformats.org/officeDocument/2006/relationships/chart" Target="../charts/chart621.xml"/><Relationship Id="rId15" Type="http://schemas.openxmlformats.org/officeDocument/2006/relationships/chart" Target="../charts/chart622.xml"/><Relationship Id="rId16" Type="http://schemas.openxmlformats.org/officeDocument/2006/relationships/chart" Target="../charts/chart623.xml"/><Relationship Id="rId17" Type="http://schemas.openxmlformats.org/officeDocument/2006/relationships/chart" Target="../charts/chart624.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5.xml"/><Relationship Id="rId7" Type="http://schemas.openxmlformats.org/officeDocument/2006/relationships/chart" Target="../charts/chart626.xml"/><Relationship Id="rId8" Type="http://schemas.openxmlformats.org/officeDocument/2006/relationships/chart" Target="../charts/chart627.xml"/><Relationship Id="rId9" Type="http://schemas.openxmlformats.org/officeDocument/2006/relationships/chart" Target="../charts/chart628.xml"/><Relationship Id="rId10" Type="http://schemas.openxmlformats.org/officeDocument/2006/relationships/chart" Target="../charts/chart629.xml"/><Relationship Id="rId11" Type="http://schemas.openxmlformats.org/officeDocument/2006/relationships/chart" Target="../charts/chart630.xml"/><Relationship Id="rId12" Type="http://schemas.openxmlformats.org/officeDocument/2006/relationships/chart" Target="../charts/chart631.xml"/><Relationship Id="rId13" Type="http://schemas.openxmlformats.org/officeDocument/2006/relationships/chart" Target="../charts/chart632.xml"/><Relationship Id="rId14" Type="http://schemas.openxmlformats.org/officeDocument/2006/relationships/chart" Target="../charts/chart633.xml"/><Relationship Id="rId15" Type="http://schemas.openxmlformats.org/officeDocument/2006/relationships/chart" Target="../charts/chart634.xml"/><Relationship Id="rId16" Type="http://schemas.openxmlformats.org/officeDocument/2006/relationships/chart" Target="../charts/chart635.xml"/><Relationship Id="rId17" Type="http://schemas.openxmlformats.org/officeDocument/2006/relationships/chart" Target="../charts/chart636.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7.xml"/><Relationship Id="rId7" Type="http://schemas.openxmlformats.org/officeDocument/2006/relationships/chart" Target="../charts/chart638.xml"/><Relationship Id="rId8" Type="http://schemas.openxmlformats.org/officeDocument/2006/relationships/chart" Target="../charts/chart639.xml"/><Relationship Id="rId9" Type="http://schemas.openxmlformats.org/officeDocument/2006/relationships/chart" Target="../charts/chart640.xml"/><Relationship Id="rId10" Type="http://schemas.openxmlformats.org/officeDocument/2006/relationships/chart" Target="../charts/chart641.xml"/><Relationship Id="rId11" Type="http://schemas.openxmlformats.org/officeDocument/2006/relationships/chart" Target="../charts/chart642.xml"/><Relationship Id="rId12" Type="http://schemas.openxmlformats.org/officeDocument/2006/relationships/chart" Target="../charts/chart643.xml"/><Relationship Id="rId13" Type="http://schemas.openxmlformats.org/officeDocument/2006/relationships/chart" Target="../charts/chart644.xml"/><Relationship Id="rId14" Type="http://schemas.openxmlformats.org/officeDocument/2006/relationships/chart" Target="../charts/chart645.xml"/><Relationship Id="rId15" Type="http://schemas.openxmlformats.org/officeDocument/2006/relationships/chart" Target="../charts/chart646.xml"/><Relationship Id="rId16" Type="http://schemas.openxmlformats.org/officeDocument/2006/relationships/chart" Target="../charts/chart647.xml"/><Relationship Id="rId17" Type="http://schemas.openxmlformats.org/officeDocument/2006/relationships/chart" Target="../charts/chart648.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596555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750418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7672669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862251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823838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751039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797655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439975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942315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55251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83684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167610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354367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50495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941573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971904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811494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227200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8939839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231587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757524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369452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994275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723961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706085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346795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705588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447884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730210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474362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849418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040167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152447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305469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315147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406266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6567111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025779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751533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319375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673266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844056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327477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090387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203100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3602517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3095282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8012142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8639872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2336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981085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310042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4871982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091327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7506</Words>
  <Application>Microsoft Office PowerPoint</Application>
  <PresentationFormat>On-screen Show (16:9)</PresentationFormat>
  <Paragraphs>2268</Paragraphs>
  <Slides>54</Slides>
  <Notes>5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4</vt:i4>
      </vt:variant>
    </vt:vector>
  </HeadingPairs>
  <TitlesOfParts>
    <vt:vector size="65"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2:4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